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notesSlides/notesSlide7.xml" ContentType="application/vnd.openxmlformats-officedocument.presentationml.notesSlide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sldIdLst>
    <p:sldId id="256" r:id="rId5"/>
    <p:sldId id="589" r:id="rId6"/>
    <p:sldId id="590" r:id="rId7"/>
    <p:sldId id="588" r:id="rId8"/>
    <p:sldId id="2147195954" r:id="rId9"/>
    <p:sldId id="363" r:id="rId10"/>
    <p:sldId id="4156" r:id="rId11"/>
    <p:sldId id="2147195955" r:id="rId12"/>
    <p:sldId id="2147196096" r:id="rId13"/>
    <p:sldId id="2147196097" r:id="rId14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F60C94-FD8B-4A8C-B43B-643214EC42CD}" type="datetimeFigureOut">
              <a:rPr lang="nb-NO" smtClean="0"/>
              <a:t>31.01.2024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CE3B24-FFC2-405C-9B8F-209E3A52245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910981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76788A-B6D5-4109-954F-F8E3BA74AC26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88158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76788A-B6D5-4109-954F-F8E3BA74AC26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480332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76788A-B6D5-4109-954F-F8E3BA74AC26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56563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76788A-B6D5-4109-954F-F8E3BA74AC26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041737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5648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1004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6575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1004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489E90-49AA-F938-B618-5C5A06D187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95C00E-9C0F-5D64-8FA3-277E1E77C1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61CAC1-4408-89B0-0806-49E2F2D34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82084-775F-40B5-B283-9E6234192461}" type="datetimeFigureOut">
              <a:rPr lang="nb-NO" smtClean="0"/>
              <a:t>31.01.202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F2A293-5963-EC54-5E95-A43DA4879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2417B-5FF2-7F90-4A4E-13EF2D9E61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39BE-4B4E-4577-9B21-58D6B36435C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13605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786F86-F33B-5F7C-30A2-D13D66963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CD4DD0-1B47-71D5-462C-6C45452BB1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DF8398-1D8F-0F8C-5C72-3FD8031B54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82084-775F-40B5-B283-9E6234192461}" type="datetimeFigureOut">
              <a:rPr lang="nb-NO" smtClean="0"/>
              <a:t>31.01.202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74389E-6DA6-B5FF-8742-482FD5C2F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A77667-2849-D04A-A056-91FC67DC1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39BE-4B4E-4577-9B21-58D6B36435C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475310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BBCC719-9999-7CA1-C1D6-72A2B439922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B90608C-8EE4-E3BE-8D99-431B6EBEF5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3112D3-2FB5-A8A6-0C55-D0202D156D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82084-775F-40B5-B283-9E6234192461}" type="datetimeFigureOut">
              <a:rPr lang="nb-NO" smtClean="0"/>
              <a:t>31.01.202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58ECC8-61C1-3D61-651F-60E4D305B9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5964A3-72A6-2619-BF83-629963419D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39BE-4B4E-4577-9B21-58D6B36435C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009516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827831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40458-16EB-FE9A-AB23-EB7724DCE5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89F427-3815-B04C-56BF-2E653902D0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E79829-EC96-9448-BD51-38BFBCE222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82084-775F-40B5-B283-9E6234192461}" type="datetimeFigureOut">
              <a:rPr lang="nb-NO" smtClean="0"/>
              <a:t>31.01.202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4CE08-6F48-5B85-1862-686D925D0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348EF5-AF3F-15BA-3512-96EC49DE5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39BE-4B4E-4577-9B21-58D6B36435C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757630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CEA5EF-23D3-89D7-E452-0D8C5B50E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DAFCFA-6855-7703-9D35-718E45CC76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5D5A08-D0CB-0F18-514F-46B1150283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82084-775F-40B5-B283-9E6234192461}" type="datetimeFigureOut">
              <a:rPr lang="nb-NO" smtClean="0"/>
              <a:t>31.01.202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E0E250-4F20-8C7F-1EB4-414F67141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4C89FB-FADC-5B8C-140F-EF71EF97F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39BE-4B4E-4577-9B21-58D6B36435C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112314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5C073A-15EC-68D0-838D-0D0EF4E891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9EA421-E31F-F6E0-1839-B787C340BF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22A0287-A154-45FE-BE62-CA0865ACB3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4EE9CD-D6D0-49D0-8256-DAF9DBD615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82084-775F-40B5-B283-9E6234192461}" type="datetimeFigureOut">
              <a:rPr lang="nb-NO" smtClean="0"/>
              <a:t>31.01.2024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C7F20B-01B0-29E6-A87F-6A953D1340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1F2209-C6DD-1576-0828-7D49250F16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39BE-4B4E-4577-9B21-58D6B36435C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07350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135D2-7B2C-E1EC-58BD-9D42547C9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637C18-6FFA-612F-9168-55532404AC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948109-6257-34D3-E6CC-6583A9FF26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A76B237-9A6B-EA09-F481-FEB01374DD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450BE84-47AC-9410-45F1-E72572E5B4F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C89B5E0-CDBE-D999-FDE5-0B0863422F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82084-775F-40B5-B283-9E6234192461}" type="datetimeFigureOut">
              <a:rPr lang="nb-NO" smtClean="0"/>
              <a:t>31.01.2024</a:t>
            </a:fld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2AA1958-4E69-51A0-C826-A24000052C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0589F6-5BE9-24E9-FA76-61F07DF11E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39BE-4B4E-4577-9B21-58D6B36435C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257279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1A9C63-4479-3E48-0AF1-246668C3A7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57FDDA-677B-043A-E080-5DC8CFDE87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82084-775F-40B5-B283-9E6234192461}" type="datetimeFigureOut">
              <a:rPr lang="nb-NO" smtClean="0"/>
              <a:t>31.01.2024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AB031F-C322-3CCF-65E9-2198F3227E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432A25-DED7-8A36-E1AA-1622EB9D1F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39BE-4B4E-4577-9B21-58D6B36435C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350149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F37FCAD-BC99-37D3-2F19-6EB018C3FD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82084-775F-40B5-B283-9E6234192461}" type="datetimeFigureOut">
              <a:rPr lang="nb-NO" smtClean="0"/>
              <a:t>31.01.2024</a:t>
            </a:fld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23A5A3F-D7A5-984A-8F6A-AB79F45E79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E7D076-AABC-B0BD-E48C-37FFEA5CE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39BE-4B4E-4577-9B21-58D6B36435C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71681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6A8DA6-03D4-FB96-F4F2-5424D0A92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7E2560-E32F-0BD4-56D1-FC5CB08AA6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815BB3-BFDA-6E21-FC95-C1142B54ED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FE0802-9786-9FD5-9647-797D01FC31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82084-775F-40B5-B283-9E6234192461}" type="datetimeFigureOut">
              <a:rPr lang="nb-NO" smtClean="0"/>
              <a:t>31.01.2024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B8C637-7AE5-DD71-F08C-5ECEA8D58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674287-0F01-8952-07D7-91C20CABF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39BE-4B4E-4577-9B21-58D6B36435C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264322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4D756D-107A-CCFB-84C6-1DF14FF709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373C28-7AEC-6755-08E3-933CB6C891B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72D919A-14CE-A427-7C9A-0E9C74A3ED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27610C-BE50-A5D5-E6F3-AD0E7197C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82084-775F-40B5-B283-9E6234192461}" type="datetimeFigureOut">
              <a:rPr lang="nb-NO" smtClean="0"/>
              <a:t>31.01.2024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B3F946-E6EB-C013-2FEE-742EA71400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6A8176-5374-9AC6-65C5-DF6938F40F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A539BE-4B4E-4577-9B21-58D6B36435C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410029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BE04FAB-850F-E136-E3CE-87701A43F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A84889-8FA5-61B2-DCEE-7F486738F5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10749-798C-26F2-BB1A-0B5373231C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382084-775F-40B5-B283-9E6234192461}" type="datetimeFigureOut">
              <a:rPr lang="nb-NO" smtClean="0"/>
              <a:t>31.01.202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EE7A5B-B6DA-77B8-0559-221F59D3A9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22A7E-60A0-F08D-DCA1-53B30C200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A539BE-4B4E-4577-9B21-58D6B36435C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03970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lovdata.no/lov/2005-06-17-62/%C2%A74-6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A59F003-E00A-43F9-91DC-CC54E3B874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EEEF43F-0530-ABCE-E6F5-3EB3CFE8577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11" r="1" b="1"/>
          <a:stretch/>
        </p:blipFill>
        <p:spPr>
          <a:xfrm>
            <a:off x="20" y="10"/>
            <a:ext cx="12191981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74A4382-E3AD-430A-9A1F-DFA3E0E77A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3799865" y="-1524511"/>
            <a:ext cx="4592270" cy="12192001"/>
          </a:xfrm>
          <a:prstGeom prst="rect">
            <a:avLst/>
          </a:prstGeom>
          <a:gradFill>
            <a:gsLst>
              <a:gs pos="35000">
                <a:schemeClr val="tx1">
                  <a:alpha val="46000"/>
                </a:schemeClr>
              </a:gs>
              <a:gs pos="21000">
                <a:schemeClr val="tx1">
                  <a:alpha val="30000"/>
                </a:schemeClr>
              </a:gs>
              <a:gs pos="0">
                <a:schemeClr val="tx1">
                  <a:alpha val="0"/>
                </a:schemeClr>
              </a:gs>
              <a:gs pos="100000">
                <a:schemeClr val="tx1">
                  <a:alpha val="9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6018E6-B8A5-F87A-92B3-DD40CB2E5A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553" y="3091928"/>
            <a:ext cx="9078562" cy="2387600"/>
          </a:xfrm>
        </p:spPr>
        <p:txBody>
          <a:bodyPr>
            <a:normAutofit/>
          </a:bodyPr>
          <a:lstStyle/>
          <a:p>
            <a:pPr algn="l"/>
            <a:r>
              <a:rPr lang="nb-NO" sz="6600">
                <a:solidFill>
                  <a:schemeClr val="bg1"/>
                </a:solidFill>
              </a:rPr>
              <a:t>Risikovurdering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79F40191-0F44-4FD1-82CC-ACB507C14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575039"/>
            <a:ext cx="9785897" cy="68580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44EE7F1-A811-7B58-5E76-74FA4669B1B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4553" y="5624945"/>
            <a:ext cx="9078562" cy="592975"/>
          </a:xfrm>
        </p:spPr>
        <p:txBody>
          <a:bodyPr anchor="ctr">
            <a:normAutofit/>
          </a:bodyPr>
          <a:lstStyle/>
          <a:p>
            <a:pPr algn="l"/>
            <a:endParaRPr lang="nb-NO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0049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73FFBB0-5858-4E64-BCCE-B1DF198C0C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73FFBB0-5858-4E64-BCCE-B1DF198C0C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686904AA-3146-4004-84F5-624A0D08000B}"/>
              </a:ext>
            </a:extLst>
          </p:cNvPr>
          <p:cNvGraphicFramePr>
            <a:graphicFrameLocks noGrp="1"/>
          </p:cNvGraphicFramePr>
          <p:nvPr/>
        </p:nvGraphicFramePr>
        <p:xfrm>
          <a:off x="785641" y="827118"/>
          <a:ext cx="10193208" cy="53288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44136">
                  <a:extLst>
                    <a:ext uri="{9D8B030D-6E8A-4147-A177-3AD203B41FA5}">
                      <a16:colId xmlns:a16="http://schemas.microsoft.com/office/drawing/2014/main" val="2858138375"/>
                    </a:ext>
                  </a:extLst>
                </a:gridCol>
                <a:gridCol w="4437303">
                  <a:extLst>
                    <a:ext uri="{9D8B030D-6E8A-4147-A177-3AD203B41FA5}">
                      <a16:colId xmlns:a16="http://schemas.microsoft.com/office/drawing/2014/main" val="3206392222"/>
                    </a:ext>
                  </a:extLst>
                </a:gridCol>
                <a:gridCol w="4811769">
                  <a:extLst>
                    <a:ext uri="{9D8B030D-6E8A-4147-A177-3AD203B41FA5}">
                      <a16:colId xmlns:a16="http://schemas.microsoft.com/office/drawing/2014/main" val="2711107017"/>
                    </a:ext>
                  </a:extLst>
                </a:gridCol>
              </a:tblGrid>
              <a:tr h="494903">
                <a:tc>
                  <a:txBody>
                    <a:bodyPr/>
                    <a:lstStyle/>
                    <a:p>
                      <a:r>
                        <a:rPr lang="nb-NO" sz="1400" b="1"/>
                        <a:t>Risiko #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Beskrivels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dirty="0"/>
                        <a:t>Tiltak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764573"/>
                  </a:ext>
                </a:extLst>
              </a:tr>
              <a:tr h="586023">
                <a:tc>
                  <a:txBody>
                    <a:bodyPr/>
                    <a:lstStyle/>
                    <a:p>
                      <a:pPr algn="ctr"/>
                      <a:r>
                        <a:rPr lang="nb-NO" sz="1600" dirty="0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sykososiale kjøreregler for landskap og teamkon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nb-NO" sz="105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2549797"/>
                  </a:ext>
                </a:extLst>
              </a:tr>
              <a:tr h="598248">
                <a:tc>
                  <a:txBody>
                    <a:bodyPr/>
                    <a:lstStyle/>
                    <a:p>
                      <a:pPr algn="ctr"/>
                      <a:r>
                        <a:rPr lang="nb-NO" sz="1600" dirty="0"/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kusjon og føringer for bruk av fellesareal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05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8260218"/>
                  </a:ext>
                </a:extLst>
              </a:tr>
              <a:tr h="531468">
                <a:tc>
                  <a:txBody>
                    <a:bodyPr/>
                    <a:lstStyle/>
                    <a:p>
                      <a:pPr algn="ctr"/>
                      <a:r>
                        <a:rPr lang="nb-NO" sz="1600" dirty="0"/>
                        <a:t>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Settes av økonomiske ressurser for innkjøp støydempende </a:t>
                      </a:r>
                      <a:r>
                        <a:rPr lang="nb-NO" sz="1200" dirty="0" err="1">
                          <a:solidFill>
                            <a:schemeClr val="tx1"/>
                          </a:solidFill>
                        </a:rPr>
                        <a:t>headset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I forkant blir enig om hvordan støy håndteres, hvordan si fra og hvordan bør en planlegge arbeidshverdage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05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0630674"/>
                  </a:ext>
                </a:extLst>
              </a:tr>
              <a:tr h="744055">
                <a:tc>
                  <a:txBody>
                    <a:bodyPr/>
                    <a:lstStyle/>
                    <a:p>
                      <a:pPr algn="ctr"/>
                      <a:endParaRPr lang="nb-NO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05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1169712"/>
                  </a:ext>
                </a:extLst>
              </a:tr>
              <a:tr h="531468">
                <a:tc>
                  <a:txBody>
                    <a:bodyPr/>
                    <a:lstStyle/>
                    <a:p>
                      <a:pPr algn="ctr"/>
                      <a:endParaRPr lang="nb-NO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05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8373826"/>
                  </a:ext>
                </a:extLst>
              </a:tr>
              <a:tr h="517078">
                <a:tc>
                  <a:txBody>
                    <a:bodyPr/>
                    <a:lstStyle/>
                    <a:p>
                      <a:pPr algn="ctr"/>
                      <a:endParaRPr lang="nb-NO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05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4360773"/>
                  </a:ext>
                </a:extLst>
              </a:tr>
              <a:tr h="517078">
                <a:tc>
                  <a:txBody>
                    <a:bodyPr/>
                    <a:lstStyle/>
                    <a:p>
                      <a:pPr algn="ctr"/>
                      <a:endParaRPr lang="nb-NO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nb-NO" sz="105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2035995"/>
                  </a:ext>
                </a:extLst>
              </a:tr>
              <a:tr h="517078">
                <a:tc>
                  <a:txBody>
                    <a:bodyPr/>
                    <a:lstStyle/>
                    <a:p>
                      <a:pPr algn="ctr"/>
                      <a:endParaRPr lang="nb-NO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nb-NO" sz="105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6540455"/>
                  </a:ext>
                </a:extLst>
              </a:tr>
            </a:tbl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8B596E87-0603-43DE-90F7-E9C3DE874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633" y="322171"/>
            <a:ext cx="10824735" cy="463911"/>
          </a:xfrm>
        </p:spPr>
        <p:txBody>
          <a:bodyPr vert="horz"/>
          <a:lstStyle/>
          <a:p>
            <a:r>
              <a:rPr lang="nb-NO" sz="2667"/>
              <a:t>Risikomatrise-tiltak</a:t>
            </a:r>
            <a:endParaRPr lang="nb-NO" sz="2667" dirty="0"/>
          </a:p>
        </p:txBody>
      </p:sp>
    </p:spTree>
    <p:extLst>
      <p:ext uri="{BB962C8B-B14F-4D97-AF65-F5344CB8AC3E}">
        <p14:creationId xmlns:p14="http://schemas.microsoft.com/office/powerpoint/2010/main" val="18403042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79BB35BC-D5C2-4C8B-A22A-A71E619191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C27A0D-DACB-497E-93CF-BA57EF8870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3788" y="365125"/>
            <a:ext cx="4840010" cy="1807305"/>
          </a:xfrm>
        </p:spPr>
        <p:txBody>
          <a:bodyPr>
            <a:normAutofit/>
          </a:bodyPr>
          <a:lstStyle/>
          <a:p>
            <a:r>
              <a:rPr lang="nb-NO" sz="4100" b="1" dirty="0"/>
              <a:t>Gjeldene lover og forskrifter:</a:t>
            </a:r>
            <a:br>
              <a:rPr lang="nb-NO" sz="4100" b="1" dirty="0"/>
            </a:br>
            <a:endParaRPr lang="nb-NO" sz="4100" dirty="0"/>
          </a:p>
        </p:txBody>
      </p:sp>
      <p:pic>
        <p:nvPicPr>
          <p:cNvPr id="5" name="Picture 4" descr="Personer som holder hender">
            <a:extLst>
              <a:ext uri="{FF2B5EF4-FFF2-40B4-BE49-F238E27FC236}">
                <a16:creationId xmlns:a16="http://schemas.microsoft.com/office/drawing/2014/main" id="{F86EA6EF-7D8E-FF17-1348-1E1449CBFDE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314" r="14152" b="-1"/>
          <a:stretch/>
        </p:blipFill>
        <p:spPr>
          <a:xfrm>
            <a:off x="20" y="10"/>
            <a:ext cx="6116549" cy="6857990"/>
          </a:xfrm>
          <a:custGeom>
            <a:avLst/>
            <a:gdLst/>
            <a:ahLst/>
            <a:cxnLst/>
            <a:rect l="l" t="t" r="r" b="b"/>
            <a:pathLst>
              <a:path w="6116569" h="6879321">
                <a:moveTo>
                  <a:pt x="0" y="0"/>
                </a:moveTo>
                <a:lnTo>
                  <a:pt x="2935851" y="0"/>
                </a:lnTo>
                <a:cubicBezTo>
                  <a:pt x="3035710" y="10660"/>
                  <a:pt x="3138421" y="17767"/>
                  <a:pt x="3238280" y="31980"/>
                </a:cubicBezTo>
                <a:cubicBezTo>
                  <a:pt x="3817462" y="106602"/>
                  <a:pt x="3127009" y="277163"/>
                  <a:pt x="3660541" y="550772"/>
                </a:cubicBezTo>
                <a:cubicBezTo>
                  <a:pt x="3706191" y="575645"/>
                  <a:pt x="3757546" y="579199"/>
                  <a:pt x="3808902" y="589860"/>
                </a:cubicBezTo>
                <a:cubicBezTo>
                  <a:pt x="4008620" y="625393"/>
                  <a:pt x="4211192" y="618286"/>
                  <a:pt x="4413762" y="625393"/>
                </a:cubicBezTo>
                <a:cubicBezTo>
                  <a:pt x="4465118" y="628946"/>
                  <a:pt x="4525033" y="625393"/>
                  <a:pt x="4567830" y="721333"/>
                </a:cubicBezTo>
                <a:cubicBezTo>
                  <a:pt x="4425175" y="724888"/>
                  <a:pt x="4305344" y="731994"/>
                  <a:pt x="4171247" y="792401"/>
                </a:cubicBezTo>
                <a:cubicBezTo>
                  <a:pt x="4239722" y="859916"/>
                  <a:pt x="4322462" y="795955"/>
                  <a:pt x="4376671" y="842148"/>
                </a:cubicBezTo>
                <a:cubicBezTo>
                  <a:pt x="4428027" y="888342"/>
                  <a:pt x="4470824" y="891896"/>
                  <a:pt x="4527887" y="813722"/>
                </a:cubicBezTo>
                <a:cubicBezTo>
                  <a:pt x="4556417" y="774634"/>
                  <a:pt x="4604920" y="778187"/>
                  <a:pt x="4633452" y="799508"/>
                </a:cubicBezTo>
                <a:cubicBezTo>
                  <a:pt x="4781813" y="913216"/>
                  <a:pt x="4778960" y="909662"/>
                  <a:pt x="4947293" y="870576"/>
                </a:cubicBezTo>
                <a:cubicBezTo>
                  <a:pt x="5055712" y="845701"/>
                  <a:pt x="5166983" y="806615"/>
                  <a:pt x="5263988" y="820828"/>
                </a:cubicBezTo>
                <a:cubicBezTo>
                  <a:pt x="5275401" y="867022"/>
                  <a:pt x="5263988" y="888342"/>
                  <a:pt x="5249723" y="895449"/>
                </a:cubicBezTo>
                <a:cubicBezTo>
                  <a:pt x="5021475" y="1005604"/>
                  <a:pt x="4975825" y="1122864"/>
                  <a:pt x="4744723" y="1197485"/>
                </a:cubicBezTo>
                <a:cubicBezTo>
                  <a:pt x="4724751" y="1268552"/>
                  <a:pt x="4807491" y="1275660"/>
                  <a:pt x="4767548" y="1346727"/>
                </a:cubicBezTo>
                <a:cubicBezTo>
                  <a:pt x="4693367" y="1407134"/>
                  <a:pt x="4610627" y="1346727"/>
                  <a:pt x="4539299" y="1421348"/>
                </a:cubicBezTo>
                <a:cubicBezTo>
                  <a:pt x="4550712" y="1471094"/>
                  <a:pt x="4610627" y="1432008"/>
                  <a:pt x="4607773" y="1485309"/>
                </a:cubicBezTo>
                <a:cubicBezTo>
                  <a:pt x="4604920" y="1517288"/>
                  <a:pt x="4593508" y="1527948"/>
                  <a:pt x="4579242" y="1535055"/>
                </a:cubicBezTo>
                <a:cubicBezTo>
                  <a:pt x="4776107" y="1538608"/>
                  <a:pt x="5383820" y="1574142"/>
                  <a:pt x="5278255" y="1609676"/>
                </a:cubicBezTo>
                <a:cubicBezTo>
                  <a:pt x="5418057" y="1698511"/>
                  <a:pt x="5623481" y="1609676"/>
                  <a:pt x="5771843" y="1630997"/>
                </a:cubicBezTo>
                <a:cubicBezTo>
                  <a:pt x="5925911" y="1652316"/>
                  <a:pt x="6171278" y="1719830"/>
                  <a:pt x="6105656" y="1748257"/>
                </a:cubicBezTo>
                <a:cubicBezTo>
                  <a:pt x="6031475" y="1780238"/>
                  <a:pt x="5766136" y="2146235"/>
                  <a:pt x="5691955" y="2167555"/>
                </a:cubicBezTo>
                <a:cubicBezTo>
                  <a:pt x="5606362" y="2188875"/>
                  <a:pt x="5589243" y="2217302"/>
                  <a:pt x="5475118" y="2348776"/>
                </a:cubicBezTo>
                <a:cubicBezTo>
                  <a:pt x="5398085" y="2437610"/>
                  <a:pt x="5709074" y="2238623"/>
                  <a:pt x="5826051" y="2291922"/>
                </a:cubicBezTo>
                <a:cubicBezTo>
                  <a:pt x="5868848" y="2309690"/>
                  <a:pt x="5552153" y="2554872"/>
                  <a:pt x="5552153" y="2597513"/>
                </a:cubicBezTo>
                <a:cubicBezTo>
                  <a:pt x="5549300" y="2640153"/>
                  <a:pt x="5577831" y="2647260"/>
                  <a:pt x="5603508" y="2647260"/>
                </a:cubicBezTo>
                <a:cubicBezTo>
                  <a:pt x="5660571" y="2647260"/>
                  <a:pt x="5640599" y="2686346"/>
                  <a:pt x="5700515" y="2679240"/>
                </a:cubicBezTo>
                <a:cubicBezTo>
                  <a:pt x="5523622" y="2800055"/>
                  <a:pt x="5418057" y="2778734"/>
                  <a:pt x="5246870" y="2888889"/>
                </a:cubicBezTo>
                <a:cubicBezTo>
                  <a:pt x="5164130" y="2942189"/>
                  <a:pt x="4921615" y="3119857"/>
                  <a:pt x="4836022" y="3169605"/>
                </a:cubicBezTo>
                <a:cubicBezTo>
                  <a:pt x="4801785" y="3187371"/>
                  <a:pt x="4758988" y="3173158"/>
                  <a:pt x="4736163" y="3233565"/>
                </a:cubicBezTo>
                <a:cubicBezTo>
                  <a:pt x="4770400" y="3279759"/>
                  <a:pt x="4816050" y="3254885"/>
                  <a:pt x="4853141" y="3233565"/>
                </a:cubicBezTo>
                <a:cubicBezTo>
                  <a:pt x="4944440" y="3176711"/>
                  <a:pt x="4935881" y="3190925"/>
                  <a:pt x="4944440" y="3226459"/>
                </a:cubicBezTo>
                <a:cubicBezTo>
                  <a:pt x="4972972" y="3350827"/>
                  <a:pt x="5044300" y="3308186"/>
                  <a:pt x="5109921" y="3283313"/>
                </a:cubicBezTo>
                <a:cubicBezTo>
                  <a:pt x="5303932" y="3208692"/>
                  <a:pt x="5500797" y="3215799"/>
                  <a:pt x="5694809" y="3141178"/>
                </a:cubicBezTo>
                <a:cubicBezTo>
                  <a:pt x="5714781" y="3134070"/>
                  <a:pt x="5612068" y="3283313"/>
                  <a:pt x="5566419" y="3301079"/>
                </a:cubicBezTo>
                <a:cubicBezTo>
                  <a:pt x="5515063" y="3322399"/>
                  <a:pt x="5452294" y="3311739"/>
                  <a:pt x="5415203" y="3397020"/>
                </a:cubicBezTo>
                <a:cubicBezTo>
                  <a:pt x="5477972" y="3414787"/>
                  <a:pt x="5552153" y="3372147"/>
                  <a:pt x="5612068" y="3432554"/>
                </a:cubicBezTo>
                <a:cubicBezTo>
                  <a:pt x="5469413" y="3528494"/>
                  <a:pt x="5329610" y="3535601"/>
                  <a:pt x="5206927" y="3599562"/>
                </a:cubicBezTo>
                <a:cubicBezTo>
                  <a:pt x="5192661" y="3706163"/>
                  <a:pt x="5272548" y="3663523"/>
                  <a:pt x="5301079" y="3723930"/>
                </a:cubicBezTo>
                <a:cubicBezTo>
                  <a:pt x="5072830" y="3844745"/>
                  <a:pt x="4564977" y="4232062"/>
                  <a:pt x="4507915" y="4306683"/>
                </a:cubicBezTo>
                <a:cubicBezTo>
                  <a:pt x="4390937" y="4463031"/>
                  <a:pt x="3900202" y="4562525"/>
                  <a:pt x="3982942" y="4587399"/>
                </a:cubicBezTo>
                <a:cubicBezTo>
                  <a:pt x="4051417" y="4608719"/>
                  <a:pt x="4119891" y="4587399"/>
                  <a:pt x="4185513" y="4541205"/>
                </a:cubicBezTo>
                <a:cubicBezTo>
                  <a:pt x="4291078" y="4466584"/>
                  <a:pt x="5010062" y="4523438"/>
                  <a:pt x="5212633" y="4455924"/>
                </a:cubicBezTo>
                <a:cubicBezTo>
                  <a:pt x="5241164" y="4445264"/>
                  <a:pt x="5283960" y="4409730"/>
                  <a:pt x="5312492" y="4473691"/>
                </a:cubicBezTo>
                <a:cubicBezTo>
                  <a:pt x="5098508" y="4704659"/>
                  <a:pt x="4833169" y="4654913"/>
                  <a:pt x="4596361" y="4818368"/>
                </a:cubicBezTo>
                <a:cubicBezTo>
                  <a:pt x="4684807" y="4917861"/>
                  <a:pt x="4776107" y="4907202"/>
                  <a:pt x="4873113" y="4885882"/>
                </a:cubicBezTo>
                <a:cubicBezTo>
                  <a:pt x="4895938" y="4878775"/>
                  <a:pt x="4930175" y="4871668"/>
                  <a:pt x="4935881" y="4914309"/>
                </a:cubicBezTo>
                <a:cubicBezTo>
                  <a:pt x="4941587" y="4967609"/>
                  <a:pt x="4898790" y="4978270"/>
                  <a:pt x="4873113" y="5003143"/>
                </a:cubicBezTo>
                <a:cubicBezTo>
                  <a:pt x="4833169" y="5038676"/>
                  <a:pt x="4773254" y="4999590"/>
                  <a:pt x="4721898" y="5095530"/>
                </a:cubicBezTo>
                <a:cubicBezTo>
                  <a:pt x="4873113" y="5067104"/>
                  <a:pt x="4998650" y="5020910"/>
                  <a:pt x="5132745" y="4949842"/>
                </a:cubicBezTo>
                <a:cubicBezTo>
                  <a:pt x="5121333" y="5006696"/>
                  <a:pt x="5081390" y="5035123"/>
                  <a:pt x="5101362" y="5081317"/>
                </a:cubicBezTo>
                <a:cubicBezTo>
                  <a:pt x="5118480" y="5116850"/>
                  <a:pt x="5164130" y="5131063"/>
                  <a:pt x="5138452" y="5198578"/>
                </a:cubicBezTo>
                <a:cubicBezTo>
                  <a:pt x="5067125" y="5273199"/>
                  <a:pt x="4967265" y="5258986"/>
                  <a:pt x="4904497" y="5362033"/>
                </a:cubicBezTo>
                <a:cubicBezTo>
                  <a:pt x="4818903" y="5507721"/>
                  <a:pt x="4684807" y="5564575"/>
                  <a:pt x="4579242" y="5674729"/>
                </a:cubicBezTo>
                <a:cubicBezTo>
                  <a:pt x="4545005" y="5713816"/>
                  <a:pt x="4313903" y="5841738"/>
                  <a:pt x="4253988" y="5884379"/>
                </a:cubicBezTo>
                <a:cubicBezTo>
                  <a:pt x="4168395" y="5944786"/>
                  <a:pt x="4071389" y="5966106"/>
                  <a:pt x="3985795" y="6069153"/>
                </a:cubicBezTo>
                <a:cubicBezTo>
                  <a:pt x="4065682" y="6086921"/>
                  <a:pt x="4134157" y="5990979"/>
                  <a:pt x="4231163" y="6030066"/>
                </a:cubicBezTo>
                <a:cubicBezTo>
                  <a:pt x="4074242" y="6133114"/>
                  <a:pt x="3931586" y="6182861"/>
                  <a:pt x="3814609" y="6317889"/>
                </a:cubicBezTo>
                <a:cubicBezTo>
                  <a:pt x="3800343" y="6335656"/>
                  <a:pt x="3771812" y="6332102"/>
                  <a:pt x="3751840" y="6339209"/>
                </a:cubicBezTo>
                <a:cubicBezTo>
                  <a:pt x="3529298" y="6406723"/>
                  <a:pt x="3309608" y="6467130"/>
                  <a:pt x="3089919" y="6563071"/>
                </a:cubicBezTo>
                <a:cubicBezTo>
                  <a:pt x="3041416" y="6584392"/>
                  <a:pt x="2955823" y="6595052"/>
                  <a:pt x="2961529" y="6662566"/>
                </a:cubicBezTo>
                <a:cubicBezTo>
                  <a:pt x="2972941" y="6765613"/>
                  <a:pt x="3055681" y="6687439"/>
                  <a:pt x="3107038" y="6673226"/>
                </a:cubicBezTo>
                <a:cubicBezTo>
                  <a:pt x="3269664" y="6634138"/>
                  <a:pt x="3432292" y="6570178"/>
                  <a:pt x="3594919" y="6591499"/>
                </a:cubicBezTo>
                <a:cubicBezTo>
                  <a:pt x="3483648" y="6637693"/>
                  <a:pt x="3372376" y="6680332"/>
                  <a:pt x="3261106" y="6726527"/>
                </a:cubicBezTo>
                <a:cubicBezTo>
                  <a:pt x="3386642" y="6705206"/>
                  <a:pt x="3495061" y="6786934"/>
                  <a:pt x="3620597" y="6740740"/>
                </a:cubicBezTo>
                <a:cubicBezTo>
                  <a:pt x="3660541" y="6726527"/>
                  <a:pt x="3700484" y="6765613"/>
                  <a:pt x="3703337" y="6826020"/>
                </a:cubicBezTo>
                <a:cubicBezTo>
                  <a:pt x="3706191" y="6847340"/>
                  <a:pt x="3700484" y="6865108"/>
                  <a:pt x="3689072" y="6879321"/>
                </a:cubicBezTo>
                <a:lnTo>
                  <a:pt x="0" y="6879321"/>
                </a:lnTo>
                <a:close/>
              </a:path>
            </a:pathLst>
          </a:cu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D86B63-4293-4CBD-A9C3-5C854910F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13788" y="2333297"/>
            <a:ext cx="4840010" cy="3843666"/>
          </a:xfrm>
        </p:spPr>
        <p:txBody>
          <a:bodyPr>
            <a:normAutofit/>
          </a:bodyPr>
          <a:lstStyle/>
          <a:p>
            <a:r>
              <a:rPr lang="nb-NO" sz="2000" b="1"/>
              <a:t>§ 4-1. Generelle krav til arbeidsmiljøet: </a:t>
            </a:r>
            <a:r>
              <a:rPr lang="nb-NO" sz="2000" b="1" i="1"/>
              <a:t>(1</a:t>
            </a:r>
            <a:r>
              <a:rPr lang="nb-NO" sz="2000" i="1"/>
              <a:t>) Arbeidsmiljøet i virksomheten skal være</a:t>
            </a:r>
          </a:p>
          <a:p>
            <a:r>
              <a:rPr lang="nb-NO" sz="2000" i="1"/>
              <a:t>fullt forsvarlig ut fra en enkeltvis og samlet vurdering av faktorer i arbeidsmiljøet som kan innvirke på arbeidstakernes fysiske og psykiske helse og velferd. Standarden for sikkerhet, helse og arbeidsmiljø skal til enhver tid utvikles og forbedres i samsvar med utviklingen i samfunnet.</a:t>
            </a:r>
          </a:p>
          <a:p>
            <a:endParaRPr lang="nb-NO" sz="2000"/>
          </a:p>
        </p:txBody>
      </p:sp>
    </p:spTree>
    <p:extLst>
      <p:ext uri="{BB962C8B-B14F-4D97-AF65-F5344CB8AC3E}">
        <p14:creationId xmlns:p14="http://schemas.microsoft.com/office/powerpoint/2010/main" val="7990364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79BB35BC-D5C2-4C8B-A22A-A71E619191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FEA1D0-69B5-4D8B-8BAC-DC5B8CFD5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3788" y="365125"/>
            <a:ext cx="4840010" cy="1807305"/>
          </a:xfrm>
        </p:spPr>
        <p:txBody>
          <a:bodyPr>
            <a:normAutofit/>
          </a:bodyPr>
          <a:lstStyle/>
          <a:p>
            <a:r>
              <a:rPr lang="nb-NO" b="1"/>
              <a:t>Gjeldene lover og forskrifter:</a:t>
            </a:r>
            <a:endParaRPr lang="nb-NO"/>
          </a:p>
        </p:txBody>
      </p:sp>
      <p:pic>
        <p:nvPicPr>
          <p:cNvPr id="5" name="Picture 4" descr="Plante som vokser i en asfaltsprekk">
            <a:extLst>
              <a:ext uri="{FF2B5EF4-FFF2-40B4-BE49-F238E27FC236}">
                <a16:creationId xmlns:a16="http://schemas.microsoft.com/office/drawing/2014/main" id="{472B8043-0B94-58B1-E03A-8F1539E6EDE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916" r="29550" b="-1"/>
          <a:stretch/>
        </p:blipFill>
        <p:spPr>
          <a:xfrm>
            <a:off x="20" y="10"/>
            <a:ext cx="6116549" cy="6857990"/>
          </a:xfrm>
          <a:custGeom>
            <a:avLst/>
            <a:gdLst/>
            <a:ahLst/>
            <a:cxnLst/>
            <a:rect l="l" t="t" r="r" b="b"/>
            <a:pathLst>
              <a:path w="6116569" h="6879321">
                <a:moveTo>
                  <a:pt x="0" y="0"/>
                </a:moveTo>
                <a:lnTo>
                  <a:pt x="2935851" y="0"/>
                </a:lnTo>
                <a:cubicBezTo>
                  <a:pt x="3035710" y="10660"/>
                  <a:pt x="3138421" y="17767"/>
                  <a:pt x="3238280" y="31980"/>
                </a:cubicBezTo>
                <a:cubicBezTo>
                  <a:pt x="3817462" y="106602"/>
                  <a:pt x="3127009" y="277163"/>
                  <a:pt x="3660541" y="550772"/>
                </a:cubicBezTo>
                <a:cubicBezTo>
                  <a:pt x="3706191" y="575645"/>
                  <a:pt x="3757546" y="579199"/>
                  <a:pt x="3808902" y="589860"/>
                </a:cubicBezTo>
                <a:cubicBezTo>
                  <a:pt x="4008620" y="625393"/>
                  <a:pt x="4211192" y="618286"/>
                  <a:pt x="4413762" y="625393"/>
                </a:cubicBezTo>
                <a:cubicBezTo>
                  <a:pt x="4465118" y="628946"/>
                  <a:pt x="4525033" y="625393"/>
                  <a:pt x="4567830" y="721333"/>
                </a:cubicBezTo>
                <a:cubicBezTo>
                  <a:pt x="4425175" y="724888"/>
                  <a:pt x="4305344" y="731994"/>
                  <a:pt x="4171247" y="792401"/>
                </a:cubicBezTo>
                <a:cubicBezTo>
                  <a:pt x="4239722" y="859916"/>
                  <a:pt x="4322462" y="795955"/>
                  <a:pt x="4376671" y="842148"/>
                </a:cubicBezTo>
                <a:cubicBezTo>
                  <a:pt x="4428027" y="888342"/>
                  <a:pt x="4470824" y="891896"/>
                  <a:pt x="4527887" y="813722"/>
                </a:cubicBezTo>
                <a:cubicBezTo>
                  <a:pt x="4556417" y="774634"/>
                  <a:pt x="4604920" y="778187"/>
                  <a:pt x="4633452" y="799508"/>
                </a:cubicBezTo>
                <a:cubicBezTo>
                  <a:pt x="4781813" y="913216"/>
                  <a:pt x="4778960" y="909662"/>
                  <a:pt x="4947293" y="870576"/>
                </a:cubicBezTo>
                <a:cubicBezTo>
                  <a:pt x="5055712" y="845701"/>
                  <a:pt x="5166983" y="806615"/>
                  <a:pt x="5263988" y="820828"/>
                </a:cubicBezTo>
                <a:cubicBezTo>
                  <a:pt x="5275401" y="867022"/>
                  <a:pt x="5263988" y="888342"/>
                  <a:pt x="5249723" y="895449"/>
                </a:cubicBezTo>
                <a:cubicBezTo>
                  <a:pt x="5021475" y="1005604"/>
                  <a:pt x="4975825" y="1122864"/>
                  <a:pt x="4744723" y="1197485"/>
                </a:cubicBezTo>
                <a:cubicBezTo>
                  <a:pt x="4724751" y="1268552"/>
                  <a:pt x="4807491" y="1275660"/>
                  <a:pt x="4767548" y="1346727"/>
                </a:cubicBezTo>
                <a:cubicBezTo>
                  <a:pt x="4693367" y="1407134"/>
                  <a:pt x="4610627" y="1346727"/>
                  <a:pt x="4539299" y="1421348"/>
                </a:cubicBezTo>
                <a:cubicBezTo>
                  <a:pt x="4550712" y="1471094"/>
                  <a:pt x="4610627" y="1432008"/>
                  <a:pt x="4607773" y="1485309"/>
                </a:cubicBezTo>
                <a:cubicBezTo>
                  <a:pt x="4604920" y="1517288"/>
                  <a:pt x="4593508" y="1527948"/>
                  <a:pt x="4579242" y="1535055"/>
                </a:cubicBezTo>
                <a:cubicBezTo>
                  <a:pt x="4776107" y="1538608"/>
                  <a:pt x="5383820" y="1574142"/>
                  <a:pt x="5278255" y="1609676"/>
                </a:cubicBezTo>
                <a:cubicBezTo>
                  <a:pt x="5418057" y="1698511"/>
                  <a:pt x="5623481" y="1609676"/>
                  <a:pt x="5771843" y="1630997"/>
                </a:cubicBezTo>
                <a:cubicBezTo>
                  <a:pt x="5925911" y="1652316"/>
                  <a:pt x="6171278" y="1719830"/>
                  <a:pt x="6105656" y="1748257"/>
                </a:cubicBezTo>
                <a:cubicBezTo>
                  <a:pt x="6031475" y="1780238"/>
                  <a:pt x="5766136" y="2146235"/>
                  <a:pt x="5691955" y="2167555"/>
                </a:cubicBezTo>
                <a:cubicBezTo>
                  <a:pt x="5606362" y="2188875"/>
                  <a:pt x="5589243" y="2217302"/>
                  <a:pt x="5475118" y="2348776"/>
                </a:cubicBezTo>
                <a:cubicBezTo>
                  <a:pt x="5398085" y="2437610"/>
                  <a:pt x="5709074" y="2238623"/>
                  <a:pt x="5826051" y="2291922"/>
                </a:cubicBezTo>
                <a:cubicBezTo>
                  <a:pt x="5868848" y="2309690"/>
                  <a:pt x="5552153" y="2554872"/>
                  <a:pt x="5552153" y="2597513"/>
                </a:cubicBezTo>
                <a:cubicBezTo>
                  <a:pt x="5549300" y="2640153"/>
                  <a:pt x="5577831" y="2647260"/>
                  <a:pt x="5603508" y="2647260"/>
                </a:cubicBezTo>
                <a:cubicBezTo>
                  <a:pt x="5660571" y="2647260"/>
                  <a:pt x="5640599" y="2686346"/>
                  <a:pt x="5700515" y="2679240"/>
                </a:cubicBezTo>
                <a:cubicBezTo>
                  <a:pt x="5523622" y="2800055"/>
                  <a:pt x="5418057" y="2778734"/>
                  <a:pt x="5246870" y="2888889"/>
                </a:cubicBezTo>
                <a:cubicBezTo>
                  <a:pt x="5164130" y="2942189"/>
                  <a:pt x="4921615" y="3119857"/>
                  <a:pt x="4836022" y="3169605"/>
                </a:cubicBezTo>
                <a:cubicBezTo>
                  <a:pt x="4801785" y="3187371"/>
                  <a:pt x="4758988" y="3173158"/>
                  <a:pt x="4736163" y="3233565"/>
                </a:cubicBezTo>
                <a:cubicBezTo>
                  <a:pt x="4770400" y="3279759"/>
                  <a:pt x="4816050" y="3254885"/>
                  <a:pt x="4853141" y="3233565"/>
                </a:cubicBezTo>
                <a:cubicBezTo>
                  <a:pt x="4944440" y="3176711"/>
                  <a:pt x="4935881" y="3190925"/>
                  <a:pt x="4944440" y="3226459"/>
                </a:cubicBezTo>
                <a:cubicBezTo>
                  <a:pt x="4972972" y="3350827"/>
                  <a:pt x="5044300" y="3308186"/>
                  <a:pt x="5109921" y="3283313"/>
                </a:cubicBezTo>
                <a:cubicBezTo>
                  <a:pt x="5303932" y="3208692"/>
                  <a:pt x="5500797" y="3215799"/>
                  <a:pt x="5694809" y="3141178"/>
                </a:cubicBezTo>
                <a:cubicBezTo>
                  <a:pt x="5714781" y="3134070"/>
                  <a:pt x="5612068" y="3283313"/>
                  <a:pt x="5566419" y="3301079"/>
                </a:cubicBezTo>
                <a:cubicBezTo>
                  <a:pt x="5515063" y="3322399"/>
                  <a:pt x="5452294" y="3311739"/>
                  <a:pt x="5415203" y="3397020"/>
                </a:cubicBezTo>
                <a:cubicBezTo>
                  <a:pt x="5477972" y="3414787"/>
                  <a:pt x="5552153" y="3372147"/>
                  <a:pt x="5612068" y="3432554"/>
                </a:cubicBezTo>
                <a:cubicBezTo>
                  <a:pt x="5469413" y="3528494"/>
                  <a:pt x="5329610" y="3535601"/>
                  <a:pt x="5206927" y="3599562"/>
                </a:cubicBezTo>
                <a:cubicBezTo>
                  <a:pt x="5192661" y="3706163"/>
                  <a:pt x="5272548" y="3663523"/>
                  <a:pt x="5301079" y="3723930"/>
                </a:cubicBezTo>
                <a:cubicBezTo>
                  <a:pt x="5072830" y="3844745"/>
                  <a:pt x="4564977" y="4232062"/>
                  <a:pt x="4507915" y="4306683"/>
                </a:cubicBezTo>
                <a:cubicBezTo>
                  <a:pt x="4390937" y="4463031"/>
                  <a:pt x="3900202" y="4562525"/>
                  <a:pt x="3982942" y="4587399"/>
                </a:cubicBezTo>
                <a:cubicBezTo>
                  <a:pt x="4051417" y="4608719"/>
                  <a:pt x="4119891" y="4587399"/>
                  <a:pt x="4185513" y="4541205"/>
                </a:cubicBezTo>
                <a:cubicBezTo>
                  <a:pt x="4291078" y="4466584"/>
                  <a:pt x="5010062" y="4523438"/>
                  <a:pt x="5212633" y="4455924"/>
                </a:cubicBezTo>
                <a:cubicBezTo>
                  <a:pt x="5241164" y="4445264"/>
                  <a:pt x="5283960" y="4409730"/>
                  <a:pt x="5312492" y="4473691"/>
                </a:cubicBezTo>
                <a:cubicBezTo>
                  <a:pt x="5098508" y="4704659"/>
                  <a:pt x="4833169" y="4654913"/>
                  <a:pt x="4596361" y="4818368"/>
                </a:cubicBezTo>
                <a:cubicBezTo>
                  <a:pt x="4684807" y="4917861"/>
                  <a:pt x="4776107" y="4907202"/>
                  <a:pt x="4873113" y="4885882"/>
                </a:cubicBezTo>
                <a:cubicBezTo>
                  <a:pt x="4895938" y="4878775"/>
                  <a:pt x="4930175" y="4871668"/>
                  <a:pt x="4935881" y="4914309"/>
                </a:cubicBezTo>
                <a:cubicBezTo>
                  <a:pt x="4941587" y="4967609"/>
                  <a:pt x="4898790" y="4978270"/>
                  <a:pt x="4873113" y="5003143"/>
                </a:cubicBezTo>
                <a:cubicBezTo>
                  <a:pt x="4833169" y="5038676"/>
                  <a:pt x="4773254" y="4999590"/>
                  <a:pt x="4721898" y="5095530"/>
                </a:cubicBezTo>
                <a:cubicBezTo>
                  <a:pt x="4873113" y="5067104"/>
                  <a:pt x="4998650" y="5020910"/>
                  <a:pt x="5132745" y="4949842"/>
                </a:cubicBezTo>
                <a:cubicBezTo>
                  <a:pt x="5121333" y="5006696"/>
                  <a:pt x="5081390" y="5035123"/>
                  <a:pt x="5101362" y="5081317"/>
                </a:cubicBezTo>
                <a:cubicBezTo>
                  <a:pt x="5118480" y="5116850"/>
                  <a:pt x="5164130" y="5131063"/>
                  <a:pt x="5138452" y="5198578"/>
                </a:cubicBezTo>
                <a:cubicBezTo>
                  <a:pt x="5067125" y="5273199"/>
                  <a:pt x="4967265" y="5258986"/>
                  <a:pt x="4904497" y="5362033"/>
                </a:cubicBezTo>
                <a:cubicBezTo>
                  <a:pt x="4818903" y="5507721"/>
                  <a:pt x="4684807" y="5564575"/>
                  <a:pt x="4579242" y="5674729"/>
                </a:cubicBezTo>
                <a:cubicBezTo>
                  <a:pt x="4545005" y="5713816"/>
                  <a:pt x="4313903" y="5841738"/>
                  <a:pt x="4253988" y="5884379"/>
                </a:cubicBezTo>
                <a:cubicBezTo>
                  <a:pt x="4168395" y="5944786"/>
                  <a:pt x="4071389" y="5966106"/>
                  <a:pt x="3985795" y="6069153"/>
                </a:cubicBezTo>
                <a:cubicBezTo>
                  <a:pt x="4065682" y="6086921"/>
                  <a:pt x="4134157" y="5990979"/>
                  <a:pt x="4231163" y="6030066"/>
                </a:cubicBezTo>
                <a:cubicBezTo>
                  <a:pt x="4074242" y="6133114"/>
                  <a:pt x="3931586" y="6182861"/>
                  <a:pt x="3814609" y="6317889"/>
                </a:cubicBezTo>
                <a:cubicBezTo>
                  <a:pt x="3800343" y="6335656"/>
                  <a:pt x="3771812" y="6332102"/>
                  <a:pt x="3751840" y="6339209"/>
                </a:cubicBezTo>
                <a:cubicBezTo>
                  <a:pt x="3529298" y="6406723"/>
                  <a:pt x="3309608" y="6467130"/>
                  <a:pt x="3089919" y="6563071"/>
                </a:cubicBezTo>
                <a:cubicBezTo>
                  <a:pt x="3041416" y="6584392"/>
                  <a:pt x="2955823" y="6595052"/>
                  <a:pt x="2961529" y="6662566"/>
                </a:cubicBezTo>
                <a:cubicBezTo>
                  <a:pt x="2972941" y="6765613"/>
                  <a:pt x="3055681" y="6687439"/>
                  <a:pt x="3107038" y="6673226"/>
                </a:cubicBezTo>
                <a:cubicBezTo>
                  <a:pt x="3269664" y="6634138"/>
                  <a:pt x="3432292" y="6570178"/>
                  <a:pt x="3594919" y="6591499"/>
                </a:cubicBezTo>
                <a:cubicBezTo>
                  <a:pt x="3483648" y="6637693"/>
                  <a:pt x="3372376" y="6680332"/>
                  <a:pt x="3261106" y="6726527"/>
                </a:cubicBezTo>
                <a:cubicBezTo>
                  <a:pt x="3386642" y="6705206"/>
                  <a:pt x="3495061" y="6786934"/>
                  <a:pt x="3620597" y="6740740"/>
                </a:cubicBezTo>
                <a:cubicBezTo>
                  <a:pt x="3660541" y="6726527"/>
                  <a:pt x="3700484" y="6765613"/>
                  <a:pt x="3703337" y="6826020"/>
                </a:cubicBezTo>
                <a:cubicBezTo>
                  <a:pt x="3706191" y="6847340"/>
                  <a:pt x="3700484" y="6865108"/>
                  <a:pt x="3689072" y="6879321"/>
                </a:cubicBezTo>
                <a:lnTo>
                  <a:pt x="0" y="6879321"/>
                </a:lnTo>
                <a:close/>
              </a:path>
            </a:pathLst>
          </a:cu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A3434C-AD81-4CE0-BD10-B9D85D964E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13788" y="2333297"/>
            <a:ext cx="4840010" cy="3843666"/>
          </a:xfrm>
        </p:spPr>
        <p:txBody>
          <a:bodyPr>
            <a:normAutofit/>
          </a:bodyPr>
          <a:lstStyle/>
          <a:p>
            <a:r>
              <a:rPr lang="nb-NO" sz="1600" b="1"/>
              <a:t>§ 4-2. Krav til tilrettelegging, medvirkning og utvikling</a:t>
            </a:r>
          </a:p>
          <a:p>
            <a:pPr marL="0" indent="0">
              <a:buNone/>
            </a:pPr>
            <a:r>
              <a:rPr lang="nb-NO" sz="1600" i="1"/>
              <a:t>e) Det gis tilstrekkelig informasjon og opplæring slik at arbeidstaker er i stand til å utføre</a:t>
            </a:r>
          </a:p>
          <a:p>
            <a:pPr marL="0" indent="0">
              <a:buNone/>
            </a:pPr>
            <a:r>
              <a:rPr lang="nb-NO" sz="1600" i="1"/>
              <a:t>arbeidet når det skjer </a:t>
            </a:r>
            <a:r>
              <a:rPr lang="nb-NO" sz="1600" b="1" i="1"/>
              <a:t>endringer som berører vedkommendes arbeidssituasjon.</a:t>
            </a:r>
          </a:p>
          <a:p>
            <a:pPr marL="0" indent="0">
              <a:buNone/>
            </a:pPr>
            <a:r>
              <a:rPr lang="nb-NO" sz="1600" i="1"/>
              <a:t>(3) </a:t>
            </a:r>
            <a:r>
              <a:rPr lang="nb-NO" sz="1600" b="1" i="1"/>
              <a:t>Under omstillingsprosesser som medfører endring av betydning for</a:t>
            </a:r>
          </a:p>
          <a:p>
            <a:pPr marL="0" indent="0">
              <a:buNone/>
            </a:pPr>
            <a:r>
              <a:rPr lang="nb-NO" sz="1600" b="1" i="1"/>
              <a:t>arbeidstakernes arbeidssituasjon</a:t>
            </a:r>
            <a:r>
              <a:rPr lang="nb-NO" sz="1600" i="1"/>
              <a:t>, skal arbeidsgiver sørge for den informasjon,</a:t>
            </a:r>
          </a:p>
          <a:p>
            <a:pPr marL="0" indent="0">
              <a:buNone/>
            </a:pPr>
            <a:r>
              <a:rPr lang="nb-NO" sz="1600" i="1"/>
              <a:t>medvirkning og kompetanseutvikling som er nødvendig for å ivareta lovens krav til et fullt</a:t>
            </a:r>
          </a:p>
          <a:p>
            <a:pPr marL="0" indent="0">
              <a:buNone/>
            </a:pPr>
            <a:r>
              <a:rPr lang="nb-NO" sz="1600" i="1"/>
              <a:t>forsvarlig arbeidsmiljø.</a:t>
            </a:r>
            <a:endParaRPr lang="nb-NO" sz="1600"/>
          </a:p>
          <a:p>
            <a:endParaRPr lang="nb-NO" sz="1600"/>
          </a:p>
        </p:txBody>
      </p:sp>
    </p:spTree>
    <p:extLst>
      <p:ext uri="{BB962C8B-B14F-4D97-AF65-F5344CB8AC3E}">
        <p14:creationId xmlns:p14="http://schemas.microsoft.com/office/powerpoint/2010/main" val="38549423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Slide Background">
            <a:extLst>
              <a:ext uri="{FF2B5EF4-FFF2-40B4-BE49-F238E27FC236}">
                <a16:creationId xmlns:a16="http://schemas.microsoft.com/office/drawing/2014/main" id="{C0763A76-9F1C-4FC5-82B7-DD475DA461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-1" y="0"/>
            <a:ext cx="12191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E81BF4F6-F2CF-4984-9D14-D6966D92F9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8522446" cy="2285999"/>
          </a:xfrm>
          <a:prstGeom prst="rect">
            <a:avLst/>
          </a:prstGeom>
          <a:ln>
            <a:noFill/>
          </a:ln>
          <a:effectLst>
            <a:outerShdw blurRad="596900" dist="304800" dir="7140000" sx="90000" sy="90000" algn="t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7D377F-EAE6-4385-8183-A008D115F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803" y="350196"/>
            <a:ext cx="4646904" cy="1624520"/>
          </a:xfrm>
        </p:spPr>
        <p:txBody>
          <a:bodyPr anchor="ctr">
            <a:normAutofit/>
          </a:bodyPr>
          <a:lstStyle/>
          <a:p>
            <a:r>
              <a:rPr lang="nb-NO" sz="3700" b="1"/>
              <a:t>Gjeldene lover og forskrifter:</a:t>
            </a:r>
            <a:br>
              <a:rPr lang="nb-NO" sz="3700" b="1"/>
            </a:br>
            <a:endParaRPr lang="nb-NO" sz="37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99D907-3FA4-4F91-A759-61D3877393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802" y="2743200"/>
            <a:ext cx="4646905" cy="3613149"/>
          </a:xfrm>
        </p:spPr>
        <p:txBody>
          <a:bodyPr anchor="ctr">
            <a:normAutofit/>
          </a:bodyPr>
          <a:lstStyle/>
          <a:p>
            <a:r>
              <a:rPr lang="nb-NO" sz="1600" b="1"/>
              <a:t>Forskrift </a:t>
            </a:r>
            <a:r>
              <a:rPr lang="nb-NO" sz="1600"/>
              <a:t>om systematisk helse, miljø og sikkerhetsarbeid § 5 nr. 6. </a:t>
            </a:r>
            <a:r>
              <a:rPr lang="nb-NO" sz="1600" b="1"/>
              <a:t>og arb.miljøloven</a:t>
            </a:r>
          </a:p>
          <a:p>
            <a:pPr marL="0" indent="0">
              <a:buNone/>
            </a:pPr>
            <a:r>
              <a:rPr lang="nn-NO" sz="1600"/>
              <a:t>§§ 2-1, 2,3, 3,1, 4-1 nr. 16-2, 7,2, 14-2 og 15-2.</a:t>
            </a:r>
          </a:p>
          <a:p>
            <a:r>
              <a:rPr lang="nb-NO" sz="1600" b="1"/>
              <a:t>§ 3-1. Krav til systematisk helse, miljø- og sikkerhetsarbeid:</a:t>
            </a:r>
          </a:p>
          <a:p>
            <a:pPr marL="0" indent="0">
              <a:buNone/>
            </a:pPr>
            <a:r>
              <a:rPr lang="nb-NO" sz="1600" i="1"/>
              <a:t>d) Under planlegging og gjennomføring av </a:t>
            </a:r>
            <a:r>
              <a:rPr lang="nb-NO" sz="1600" b="1" i="1"/>
              <a:t>endringer i virksomheten</a:t>
            </a:r>
            <a:r>
              <a:rPr lang="nb-NO" sz="1600" i="1"/>
              <a:t>, vurdere om</a:t>
            </a:r>
          </a:p>
          <a:p>
            <a:pPr marL="0" indent="0">
              <a:buNone/>
            </a:pPr>
            <a:r>
              <a:rPr lang="nb-NO" sz="1600" i="1"/>
              <a:t>arbeidsmiljøet vil være i samsvar med lovens krav, og iverksette de nødvendige tiltak,</a:t>
            </a:r>
          </a:p>
          <a:p>
            <a:pPr marL="0" indent="0">
              <a:buNone/>
            </a:pPr>
            <a:r>
              <a:rPr lang="nb-NO" sz="1600" i="1"/>
              <a:t>(2) Ved planlegging og utforming av arbeidet skal det legges vekt på å forebygge skader og</a:t>
            </a:r>
          </a:p>
          <a:p>
            <a:pPr marL="0" indent="0">
              <a:buNone/>
            </a:pPr>
            <a:r>
              <a:rPr lang="nb-NO" sz="1600" i="1"/>
              <a:t>sykdommer.</a:t>
            </a:r>
          </a:p>
        </p:txBody>
      </p:sp>
      <p:pic>
        <p:nvPicPr>
          <p:cNvPr id="5" name="Picture 4" descr="Utropstegn på gul bakgrunn">
            <a:extLst>
              <a:ext uri="{FF2B5EF4-FFF2-40B4-BE49-F238E27FC236}">
                <a16:creationId xmlns:a16="http://schemas.microsoft.com/office/drawing/2014/main" id="{29002792-1AFA-B5DF-1ABB-18D7E73E053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088" r="10171"/>
          <a:stretch/>
        </p:blipFill>
        <p:spPr>
          <a:xfrm>
            <a:off x="6096000" y="1"/>
            <a:ext cx="61028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9342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vitt puslespill med én rød brikke">
            <a:extLst>
              <a:ext uri="{FF2B5EF4-FFF2-40B4-BE49-F238E27FC236}">
                <a16:creationId xmlns:a16="http://schemas.microsoft.com/office/drawing/2014/main" id="{CC1301A6-A3DD-08CB-F3F8-D9BF6794975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615" r="27010"/>
          <a:stretch/>
        </p:blipFill>
        <p:spPr>
          <a:xfrm>
            <a:off x="-1" y="-2"/>
            <a:ext cx="5410198" cy="68580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F2DB984-EFD3-6577-BF22-BFADA3F91E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5317" y="405685"/>
            <a:ext cx="5464968" cy="1559301"/>
          </a:xfrm>
        </p:spPr>
        <p:txBody>
          <a:bodyPr>
            <a:normAutofit/>
          </a:bodyPr>
          <a:lstStyle/>
          <a:p>
            <a:r>
              <a:rPr lang="nb-NO" sz="4000"/>
              <a:t>Forskrift om organisasjon, ledelse og medvirk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59C30A-3F3B-EBFC-74A9-E365F760AB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15317" y="2743200"/>
            <a:ext cx="5247340" cy="3496878"/>
          </a:xfrm>
        </p:spPr>
        <p:txBody>
          <a:bodyPr anchor="ctr">
            <a:normAutofit/>
          </a:bodyPr>
          <a:lstStyle/>
          <a:p>
            <a:pPr>
              <a:buFont typeface="+mj-lt"/>
              <a:buAutoNum type="alphaLcPeriod"/>
            </a:pPr>
            <a:r>
              <a:rPr lang="nb-NO" sz="800" b="0" i="0" dirty="0">
                <a:effectLst/>
                <a:highlight>
                  <a:srgbClr val="FFFF00"/>
                </a:highlight>
                <a:latin typeface="BrownPro Regular"/>
              </a:rPr>
              <a:t>Arbeidsgiver skal sørge for at </a:t>
            </a:r>
            <a:r>
              <a:rPr lang="nb-NO" sz="800" b="0" i="0" dirty="0" err="1">
                <a:effectLst/>
                <a:highlight>
                  <a:srgbClr val="FFFF00"/>
                </a:highlight>
                <a:latin typeface="BrownPro Regular"/>
              </a:rPr>
              <a:t>bedriftshelsetjenestena.bistår</a:t>
            </a:r>
            <a:r>
              <a:rPr lang="nb-NO" sz="800" b="0" i="0" dirty="0">
                <a:effectLst/>
                <a:highlight>
                  <a:srgbClr val="FFFF00"/>
                </a:highlight>
                <a:latin typeface="BrownPro Regular"/>
              </a:rPr>
              <a:t> med løpende kartlegging av arbeidsmiljøet, foretar undersøkelser av arbeidsplassene og arbeidsprosessene og vurderer risiko for helsefare,</a:t>
            </a:r>
          </a:p>
          <a:p>
            <a:pPr>
              <a:buFont typeface="+mj-lt"/>
              <a:buAutoNum type="alphaLcPeriod" startAt="2"/>
            </a:pPr>
            <a:r>
              <a:rPr lang="nb-NO" sz="800" b="0" i="0" dirty="0">
                <a:effectLst/>
                <a:latin typeface="BrownPro Regular"/>
              </a:rPr>
              <a:t>fremmer forslag om forebyggende tiltak og sammen med virksomheten arbeider med tiltak som reduserer risikoen for helseskade forårsaket av arbeidet,</a:t>
            </a:r>
          </a:p>
          <a:p>
            <a:pPr>
              <a:buFont typeface="+mj-lt"/>
              <a:buAutoNum type="alphaLcPeriod" startAt="3"/>
            </a:pPr>
            <a:r>
              <a:rPr lang="nb-NO" sz="800" b="0" i="0" dirty="0">
                <a:effectLst/>
                <a:highlight>
                  <a:srgbClr val="FFFF00"/>
                </a:highlight>
                <a:latin typeface="BrownPro Regular"/>
              </a:rPr>
              <a:t>bistår med planlegging og gjennomføring av fysiske og organisatoriske endringer i virksomheten, herunder etablering, vedlikehold og tilrettelegging av arbeidsplasser, lokaler, utstyr og arbeidsprosesser,</a:t>
            </a:r>
          </a:p>
          <a:p>
            <a:pPr>
              <a:buFont typeface="+mj-lt"/>
              <a:buAutoNum type="alphaLcPeriod" startAt="4"/>
            </a:pPr>
            <a:r>
              <a:rPr lang="nb-NO" sz="800" b="0" i="0" dirty="0">
                <a:effectLst/>
                <a:latin typeface="BrownPro Regular"/>
              </a:rPr>
              <a:t>bistår med utarbeidelse og endring av retningslinjer for bruk av kjemikalier, maskiner, og utstyr og øvrige arbeidsprosesser,</a:t>
            </a:r>
          </a:p>
          <a:p>
            <a:pPr>
              <a:buFont typeface="+mj-lt"/>
              <a:buAutoNum type="alphaLcPeriod" startAt="5"/>
            </a:pPr>
            <a:r>
              <a:rPr lang="nb-NO" sz="800" b="0" i="0" dirty="0">
                <a:effectLst/>
                <a:latin typeface="BrownPro Regular"/>
              </a:rPr>
              <a:t>bistår i arbeidet med å overvåke og kontrollere arbeidstakernes helse under hensyn til arbeidssituasjonen og foretar nødvendig oppfølging, i de tilfeller dette følger av lov eller forskrift, er begrunnet ut fra et arbeidshelseperspektiv, eller når virksomhetens risikovurdering tilsier det,</a:t>
            </a:r>
          </a:p>
          <a:p>
            <a:pPr>
              <a:buFont typeface="+mj-lt"/>
              <a:buAutoNum type="alphaLcPeriod" startAt="6"/>
            </a:pPr>
            <a:r>
              <a:rPr lang="nb-NO" sz="800" b="0" i="0" dirty="0">
                <a:effectLst/>
                <a:latin typeface="BrownPro Regular"/>
              </a:rPr>
              <a:t>bistår med individuell tilrettelegging, herunder med bistand i henhold til </a:t>
            </a:r>
            <a:r>
              <a:rPr lang="nb-NO" sz="800" b="1" i="0" u="sng" dirty="0">
                <a:effectLst/>
                <a:latin typeface="BrownPro Bold"/>
                <a:hlinkClick r:id="rId4"/>
              </a:rPr>
              <a:t>arbeidsmiljøloven § 4-6</a:t>
            </a:r>
            <a:r>
              <a:rPr lang="nb-NO" sz="800" b="0" i="0" dirty="0">
                <a:effectLst/>
                <a:latin typeface="BrownPro Regular"/>
              </a:rPr>
              <a:t>,</a:t>
            </a:r>
          </a:p>
          <a:p>
            <a:pPr>
              <a:buFont typeface="+mj-lt"/>
              <a:buAutoNum type="alphaLcPeriod" startAt="7"/>
            </a:pPr>
            <a:r>
              <a:rPr lang="nb-NO" sz="800" b="0" i="0" dirty="0">
                <a:effectLst/>
                <a:latin typeface="BrownPro Regular"/>
              </a:rPr>
              <a:t>bistår med informasjon og opplæring om relevant arbeidshelse-, arbeidsmiljø- og sikkerhetsrisiko og aktuelle tiltak,</a:t>
            </a:r>
          </a:p>
          <a:p>
            <a:pPr>
              <a:buFont typeface="+mj-lt"/>
              <a:buAutoNum type="alphaLcPeriod" startAt="8"/>
            </a:pPr>
            <a:r>
              <a:rPr lang="nb-NO" sz="800" b="0" i="0" dirty="0">
                <a:effectLst/>
                <a:latin typeface="BrownPro Regular"/>
              </a:rPr>
              <a:t>bistår ved henvendelser fra arbeidstaker, verneombud og arbeidsmiljøutvalg.</a:t>
            </a:r>
          </a:p>
          <a:p>
            <a:pPr marL="0" indent="0">
              <a:buNone/>
            </a:pPr>
            <a:endParaRPr lang="nb-NO" sz="800" dirty="0"/>
          </a:p>
        </p:txBody>
      </p:sp>
    </p:spTree>
    <p:extLst>
      <p:ext uri="{BB962C8B-B14F-4D97-AF65-F5344CB8AC3E}">
        <p14:creationId xmlns:p14="http://schemas.microsoft.com/office/powerpoint/2010/main" val="31736914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73FFBB0-5858-4E64-BCCE-B1DF198C0C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73FFBB0-5858-4E64-BCCE-B1DF198C0C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A2C56731-E2EF-4992-BC27-29F0B9B24C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7965014"/>
              </p:ext>
            </p:extLst>
          </p:nvPr>
        </p:nvGraphicFramePr>
        <p:xfrm>
          <a:off x="1962403" y="32379"/>
          <a:ext cx="9670787" cy="355743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42943">
                  <a:extLst>
                    <a:ext uri="{9D8B030D-6E8A-4147-A177-3AD203B41FA5}">
                      <a16:colId xmlns:a16="http://schemas.microsoft.com/office/drawing/2014/main" val="1388719031"/>
                    </a:ext>
                  </a:extLst>
                </a:gridCol>
                <a:gridCol w="324481">
                  <a:extLst>
                    <a:ext uri="{9D8B030D-6E8A-4147-A177-3AD203B41FA5}">
                      <a16:colId xmlns:a16="http://schemas.microsoft.com/office/drawing/2014/main" val="4208907912"/>
                    </a:ext>
                  </a:extLst>
                </a:gridCol>
                <a:gridCol w="1281563">
                  <a:extLst>
                    <a:ext uri="{9D8B030D-6E8A-4147-A177-3AD203B41FA5}">
                      <a16:colId xmlns:a16="http://schemas.microsoft.com/office/drawing/2014/main" val="4242432131"/>
                    </a:ext>
                  </a:extLst>
                </a:gridCol>
                <a:gridCol w="1476492">
                  <a:extLst>
                    <a:ext uri="{9D8B030D-6E8A-4147-A177-3AD203B41FA5}">
                      <a16:colId xmlns:a16="http://schemas.microsoft.com/office/drawing/2014/main" val="746765770"/>
                    </a:ext>
                  </a:extLst>
                </a:gridCol>
                <a:gridCol w="1476492">
                  <a:extLst>
                    <a:ext uri="{9D8B030D-6E8A-4147-A177-3AD203B41FA5}">
                      <a16:colId xmlns:a16="http://schemas.microsoft.com/office/drawing/2014/main" val="1429428430"/>
                    </a:ext>
                  </a:extLst>
                </a:gridCol>
                <a:gridCol w="1476492">
                  <a:extLst>
                    <a:ext uri="{9D8B030D-6E8A-4147-A177-3AD203B41FA5}">
                      <a16:colId xmlns:a16="http://schemas.microsoft.com/office/drawing/2014/main" val="2138592019"/>
                    </a:ext>
                  </a:extLst>
                </a:gridCol>
                <a:gridCol w="1476492">
                  <a:extLst>
                    <a:ext uri="{9D8B030D-6E8A-4147-A177-3AD203B41FA5}">
                      <a16:colId xmlns:a16="http://schemas.microsoft.com/office/drawing/2014/main" val="1560128495"/>
                    </a:ext>
                  </a:extLst>
                </a:gridCol>
                <a:gridCol w="1515832">
                  <a:extLst>
                    <a:ext uri="{9D8B030D-6E8A-4147-A177-3AD203B41FA5}">
                      <a16:colId xmlns:a16="http://schemas.microsoft.com/office/drawing/2014/main" val="935630750"/>
                    </a:ext>
                  </a:extLst>
                </a:gridCol>
              </a:tblGrid>
              <a:tr h="303402">
                <a:tc rowSpan="3" gridSpan="3">
                  <a:txBody>
                    <a:bodyPr/>
                    <a:lstStyle/>
                    <a:p>
                      <a:pPr algn="ctr"/>
                      <a:endParaRPr lang="nb-NO" sz="1400"/>
                    </a:p>
                  </a:txBody>
                  <a:tcPr vert="vert2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 hMerge="1"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>
                        <a:buNone/>
                      </a:pPr>
                      <a:endParaRPr lang="en-US"/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3826803"/>
                  </a:ext>
                </a:extLst>
              </a:tr>
              <a:tr h="404536">
                <a:tc gridSpan="3" vMerge="1"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nb-NO" sz="1400" b="1" dirty="0"/>
                        <a:t>Påvirkning</a:t>
                      </a:r>
                      <a:br>
                        <a:rPr lang="nb-NO" sz="1400" dirty="0"/>
                      </a:br>
                      <a:r>
                        <a:rPr lang="nb-NO" sz="1100" dirty="0"/>
                        <a:t>Negativ innvirkning på arbeidsmiljø</a:t>
                      </a:r>
                      <a:endParaRPr lang="nb-NO" sz="1400" dirty="0"/>
                    </a:p>
                  </a:txBody>
                  <a:tcPr marL="0" marR="0" marT="0" marB="0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2717449"/>
                  </a:ext>
                </a:extLst>
              </a:tr>
              <a:tr h="360598">
                <a:tc gridSpan="3" vMerge="1">
                  <a:txBody>
                    <a:bodyPr/>
                    <a:lstStyle/>
                    <a:p>
                      <a:pPr algn="r"/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r"/>
                      <a:endParaRPr lang="nb-NO" sz="11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50"/>
                        <a:t>Svært liten</a:t>
                      </a:r>
                    </a:p>
                    <a:p>
                      <a:pPr algn="ctr"/>
                      <a:r>
                        <a:rPr lang="nb-NO" sz="1400" b="1"/>
                        <a:t>1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50"/>
                        <a:t>Liten</a:t>
                      </a:r>
                    </a:p>
                    <a:p>
                      <a:pPr algn="ctr"/>
                      <a:r>
                        <a:rPr lang="nb-NO" sz="1400" b="1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50"/>
                        <a:t>Moderat</a:t>
                      </a:r>
                    </a:p>
                    <a:p>
                      <a:pPr algn="ctr"/>
                      <a:r>
                        <a:rPr lang="nb-NO" sz="1400" b="1"/>
                        <a:t>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50"/>
                        <a:t>Stor</a:t>
                      </a:r>
                    </a:p>
                    <a:p>
                      <a:pPr algn="ctr"/>
                      <a:r>
                        <a:rPr lang="nb-NO" sz="1400" b="1"/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50"/>
                        <a:t>Svært stor</a:t>
                      </a:r>
                    </a:p>
                    <a:p>
                      <a:pPr algn="ctr"/>
                      <a:r>
                        <a:rPr lang="nb-NO" sz="1400" b="1"/>
                        <a:t>5</a:t>
                      </a:r>
                      <a:endParaRPr lang="nb-NO" sz="1050" b="1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4706095"/>
                  </a:ext>
                </a:extLst>
              </a:tr>
              <a:tr h="495224">
                <a:tc rowSpan="5"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b="1"/>
                        <a:t>Sannsynlighet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/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900"/>
                        <a:t>Sikker hendels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D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1550725"/>
                  </a:ext>
                </a:extLst>
              </a:tr>
              <a:tr h="495224">
                <a:tc vMerge="1">
                  <a:txBody>
                    <a:bodyPr/>
                    <a:lstStyle/>
                    <a:p>
                      <a:pPr algn="r"/>
                      <a:endParaRPr lang="nb-NO" sz="1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900"/>
                        <a:t>Sannsynlig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D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D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0762524"/>
                  </a:ext>
                </a:extLst>
              </a:tr>
              <a:tr h="495224">
                <a:tc vMerge="1">
                  <a:txBody>
                    <a:bodyPr/>
                    <a:lstStyle/>
                    <a:p>
                      <a:pPr algn="r"/>
                      <a:endParaRPr lang="nb-NO" sz="1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900"/>
                        <a:t>Mulig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D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D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D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366928"/>
                  </a:ext>
                </a:extLst>
              </a:tr>
              <a:tr h="495224">
                <a:tc vMerge="1">
                  <a:txBody>
                    <a:bodyPr/>
                    <a:lstStyle/>
                    <a:p>
                      <a:pPr algn="r"/>
                      <a:endParaRPr lang="nb-NO" sz="1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900"/>
                        <a:t>Lite sannsynlig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D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3487118"/>
                  </a:ext>
                </a:extLst>
              </a:tr>
              <a:tr h="495224">
                <a:tc vMerge="1">
                  <a:txBody>
                    <a:bodyPr/>
                    <a:lstStyle/>
                    <a:p>
                      <a:pPr algn="r"/>
                      <a:endParaRPr lang="nb-NO" sz="1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900"/>
                        <a:t>Usannsynlig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7782870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ABADBC5-F95E-4E51-A2CE-F21C304830B3}"/>
              </a:ext>
            </a:extLst>
          </p:cNvPr>
          <p:cNvSpPr/>
          <p:nvPr/>
        </p:nvSpPr>
        <p:spPr>
          <a:xfrm>
            <a:off x="1979891" y="172080"/>
            <a:ext cx="215522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200" dirty="0"/>
              <a:t>Vurdering av risikoer relatert til </a:t>
            </a:r>
          </a:p>
          <a:p>
            <a:r>
              <a:rPr lang="nb-NO" sz="1200" dirty="0"/>
              <a:t>fysisk og psykososialt arbeidsmiljø</a:t>
            </a:r>
            <a:br>
              <a:rPr lang="nb-NO" sz="1400" dirty="0"/>
            </a:br>
            <a:endParaRPr lang="nb-NO" sz="1400" b="1" dirty="0"/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686904AA-3146-4004-84F5-624A0D08000B}"/>
              </a:ext>
            </a:extLst>
          </p:cNvPr>
          <p:cNvGraphicFramePr>
            <a:graphicFrameLocks noGrp="1"/>
          </p:cNvGraphicFramePr>
          <p:nvPr/>
        </p:nvGraphicFramePr>
        <p:xfrm>
          <a:off x="1962799" y="3681688"/>
          <a:ext cx="9674832" cy="17577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6105">
                  <a:extLst>
                    <a:ext uri="{9D8B030D-6E8A-4147-A177-3AD203B41FA5}">
                      <a16:colId xmlns:a16="http://schemas.microsoft.com/office/drawing/2014/main" val="782578624"/>
                    </a:ext>
                  </a:extLst>
                </a:gridCol>
                <a:gridCol w="4643548">
                  <a:extLst>
                    <a:ext uri="{9D8B030D-6E8A-4147-A177-3AD203B41FA5}">
                      <a16:colId xmlns:a16="http://schemas.microsoft.com/office/drawing/2014/main" val="106286645"/>
                    </a:ext>
                  </a:extLst>
                </a:gridCol>
                <a:gridCol w="328744">
                  <a:extLst>
                    <a:ext uri="{9D8B030D-6E8A-4147-A177-3AD203B41FA5}">
                      <a16:colId xmlns:a16="http://schemas.microsoft.com/office/drawing/2014/main" val="2858138375"/>
                    </a:ext>
                  </a:extLst>
                </a:gridCol>
                <a:gridCol w="4416435">
                  <a:extLst>
                    <a:ext uri="{9D8B030D-6E8A-4147-A177-3AD203B41FA5}">
                      <a16:colId xmlns:a16="http://schemas.microsoft.com/office/drawing/2014/main" val="3206392222"/>
                    </a:ext>
                  </a:extLst>
                </a:gridCol>
              </a:tblGrid>
              <a:tr h="274900">
                <a:tc>
                  <a:txBody>
                    <a:bodyPr/>
                    <a:lstStyle/>
                    <a:p>
                      <a:r>
                        <a:rPr lang="nb-NO" sz="1000" b="1">
                          <a:latin typeface="Arial"/>
                          <a:cs typeface="Arial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100" b="1">
                          <a:latin typeface="+mn-lt"/>
                          <a:cs typeface="Arial"/>
                        </a:rPr>
                        <a:t>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3764573"/>
                  </a:ext>
                </a:extLst>
              </a:tr>
              <a:tr h="342690">
                <a:tc>
                  <a:txBody>
                    <a:bodyPr/>
                    <a:lstStyle/>
                    <a:p>
                      <a:pPr algn="ctr"/>
                      <a:r>
                        <a:rPr lang="nb-NO" sz="1000" b="1">
                          <a:latin typeface="Arial"/>
                          <a:cs typeface="Arial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100" b="1">
                          <a:latin typeface="+mn-lt"/>
                          <a:cs typeface="Arial"/>
                        </a:rPr>
                        <a:t>4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2549797"/>
                  </a:ext>
                </a:extLst>
              </a:tr>
              <a:tr h="381383">
                <a:tc>
                  <a:txBody>
                    <a:bodyPr/>
                    <a:lstStyle/>
                    <a:p>
                      <a:pPr algn="ctr"/>
                      <a:r>
                        <a:rPr lang="nb-NO" sz="1000" b="1">
                          <a:latin typeface="Arial"/>
                          <a:cs typeface="Arial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100" b="1">
                          <a:latin typeface="+mn-lt"/>
                          <a:cs typeface="Arial"/>
                        </a:rPr>
                        <a:t>6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8260218"/>
                  </a:ext>
                </a:extLst>
              </a:tr>
              <a:tr h="284999">
                <a:tc>
                  <a:txBody>
                    <a:bodyPr/>
                    <a:lstStyle/>
                    <a:p>
                      <a:pPr algn="ctr"/>
                      <a:r>
                        <a:rPr lang="nb-NO" sz="1000" b="1">
                          <a:latin typeface="Arial"/>
                          <a:cs typeface="Arial"/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100" b="1" dirty="0">
                          <a:latin typeface="+mn-lt"/>
                          <a:cs typeface="Arial"/>
                        </a:rPr>
                        <a:t>8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11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0630674"/>
                  </a:ext>
                </a:extLst>
              </a:tr>
              <a:tr h="473761">
                <a:tc>
                  <a:txBody>
                    <a:bodyPr/>
                    <a:lstStyle/>
                    <a:p>
                      <a:pPr algn="ctr"/>
                      <a:r>
                        <a:rPr lang="nb-NO" sz="1000" b="1">
                          <a:latin typeface="Arial"/>
                          <a:cs typeface="Arial"/>
                        </a:rPr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100" b="1" dirty="0">
                          <a:latin typeface="+mn-lt"/>
                          <a:cs typeface="Arial"/>
                        </a:rPr>
                        <a:t>10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1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1169712"/>
                  </a:ext>
                </a:extLst>
              </a:tr>
            </a:tbl>
          </a:graphicData>
        </a:graphic>
      </p:graphicFrame>
      <p:sp>
        <p:nvSpPr>
          <p:cNvPr id="10" name="Oval 9">
            <a:extLst>
              <a:ext uri="{FF2B5EF4-FFF2-40B4-BE49-F238E27FC236}">
                <a16:creationId xmlns:a16="http://schemas.microsoft.com/office/drawing/2014/main" id="{0370C33A-CDD1-4492-9240-BE3CE0B14B34}"/>
              </a:ext>
            </a:extLst>
          </p:cNvPr>
          <p:cNvSpPr/>
          <p:nvPr/>
        </p:nvSpPr>
        <p:spPr bwMode="auto">
          <a:xfrm>
            <a:off x="9257085" y="2309863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1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3939692-4970-4B5B-9E61-C22A77FABCA9}"/>
              </a:ext>
            </a:extLst>
          </p:cNvPr>
          <p:cNvSpPr/>
          <p:nvPr/>
        </p:nvSpPr>
        <p:spPr bwMode="auto">
          <a:xfrm>
            <a:off x="8915024" y="2308584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7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7164652-692C-4344-BE5C-7B375F6C6873}"/>
              </a:ext>
            </a:extLst>
          </p:cNvPr>
          <p:cNvGrpSpPr/>
          <p:nvPr/>
        </p:nvGrpSpPr>
        <p:grpSpPr>
          <a:xfrm>
            <a:off x="138727" y="1183138"/>
            <a:ext cx="1489541" cy="3000189"/>
            <a:chOff x="385707" y="1835136"/>
            <a:chExt cx="1489541" cy="3000189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8E8C77A-BC6B-4A45-BF82-56DE5FE67EF8}"/>
                </a:ext>
              </a:extLst>
            </p:cNvPr>
            <p:cNvSpPr/>
            <p:nvPr/>
          </p:nvSpPr>
          <p:spPr>
            <a:xfrm>
              <a:off x="385707" y="1835136"/>
              <a:ext cx="1324696" cy="300018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545F75A0-3982-4AF0-9571-359E94DC1E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984" y="2101027"/>
              <a:ext cx="288000" cy="288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2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DA85D5F-0AE1-4A6B-8E49-27E5AEDFB993}"/>
                </a:ext>
              </a:extLst>
            </p:cNvPr>
            <p:cNvSpPr txBox="1"/>
            <p:nvPr/>
          </p:nvSpPr>
          <p:spPr>
            <a:xfrm>
              <a:off x="717979" y="2147346"/>
              <a:ext cx="105928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isikonummer, korresponderer med risiko i tabellen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13781D8C-01E5-4D52-A21B-6FB8A89B96A9}"/>
                </a:ext>
              </a:extLst>
            </p:cNvPr>
            <p:cNvSpPr/>
            <p:nvPr/>
          </p:nvSpPr>
          <p:spPr>
            <a:xfrm>
              <a:off x="487288" y="3649212"/>
              <a:ext cx="181392" cy="193009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915272B-B11A-4892-AF89-1D94DE0BBA94}"/>
                </a:ext>
              </a:extLst>
            </p:cNvPr>
            <p:cNvSpPr/>
            <p:nvPr/>
          </p:nvSpPr>
          <p:spPr>
            <a:xfrm>
              <a:off x="487288" y="4105316"/>
              <a:ext cx="181392" cy="19300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3B8DA48-3313-40ED-8167-78C2B652647E}"/>
                </a:ext>
              </a:extLst>
            </p:cNvPr>
            <p:cNvSpPr/>
            <p:nvPr/>
          </p:nvSpPr>
          <p:spPr>
            <a:xfrm>
              <a:off x="487288" y="4539491"/>
              <a:ext cx="181392" cy="19300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D56F87FC-FA82-4E29-BC0D-60D4336F0B4C}"/>
                </a:ext>
              </a:extLst>
            </p:cNvPr>
            <p:cNvSpPr txBox="1"/>
            <p:nvPr/>
          </p:nvSpPr>
          <p:spPr>
            <a:xfrm>
              <a:off x="719842" y="3576439"/>
              <a:ext cx="9259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Lav </a:t>
              </a:r>
              <a:r>
                <a:rPr kumimoji="0" lang="nb-NO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isiko</a:t>
              </a:r>
              <a:r>
                <a:rPr kumimoji="0" lang="nb-NO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  <a:endPara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D6F497EE-17F6-4AC0-B395-F04B7773A370}"/>
                </a:ext>
              </a:extLst>
            </p:cNvPr>
            <p:cNvSpPr txBox="1"/>
            <p:nvPr/>
          </p:nvSpPr>
          <p:spPr>
            <a:xfrm>
              <a:off x="719842" y="4032543"/>
              <a:ext cx="115540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Middels </a:t>
              </a:r>
              <a:r>
                <a:rPr kumimoji="0" lang="nb-NO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isikot</a:t>
              </a: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EC02B2D-A503-4C70-9D91-507E1ED293A5}"/>
                </a:ext>
              </a:extLst>
            </p:cNvPr>
            <p:cNvSpPr txBox="1"/>
            <p:nvPr/>
          </p:nvSpPr>
          <p:spPr>
            <a:xfrm>
              <a:off x="719842" y="4466718"/>
              <a:ext cx="9259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Høy risiko</a:t>
              </a:r>
            </a:p>
          </p:txBody>
        </p:sp>
      </p:grpSp>
      <p:sp>
        <p:nvSpPr>
          <p:cNvPr id="40" name="Oval 44">
            <a:extLst>
              <a:ext uri="{FF2B5EF4-FFF2-40B4-BE49-F238E27FC236}">
                <a16:creationId xmlns:a16="http://schemas.microsoft.com/office/drawing/2014/main" id="{56FD6206-0BF5-43F6-8327-3961295FD5AE}"/>
              </a:ext>
            </a:extLst>
          </p:cNvPr>
          <p:cNvSpPr/>
          <p:nvPr/>
        </p:nvSpPr>
        <p:spPr bwMode="auto">
          <a:xfrm>
            <a:off x="7763031" y="1821937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2</a:t>
            </a:r>
          </a:p>
        </p:txBody>
      </p:sp>
      <p:sp>
        <p:nvSpPr>
          <p:cNvPr id="43" name="Oval 38">
            <a:extLst>
              <a:ext uri="{FF2B5EF4-FFF2-40B4-BE49-F238E27FC236}">
                <a16:creationId xmlns:a16="http://schemas.microsoft.com/office/drawing/2014/main" id="{36F2114D-61CF-4DD0-ACC6-CA79395312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01300" y="2310697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</a:t>
            </a:r>
          </a:p>
        </p:txBody>
      </p:sp>
      <p:sp>
        <p:nvSpPr>
          <p:cNvPr id="49" name="Oval 44">
            <a:extLst>
              <a:ext uri="{FF2B5EF4-FFF2-40B4-BE49-F238E27FC236}">
                <a16:creationId xmlns:a16="http://schemas.microsoft.com/office/drawing/2014/main" id="{2B17569D-D479-432B-8261-D9F53BCA29B8}"/>
              </a:ext>
            </a:extLst>
          </p:cNvPr>
          <p:cNvSpPr/>
          <p:nvPr/>
        </p:nvSpPr>
        <p:spPr bwMode="auto">
          <a:xfrm>
            <a:off x="6369162" y="2749722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5</a:t>
            </a:r>
          </a:p>
        </p:txBody>
      </p:sp>
      <p:sp>
        <p:nvSpPr>
          <p:cNvPr id="50" name="Oval 38">
            <a:extLst>
              <a:ext uri="{FF2B5EF4-FFF2-40B4-BE49-F238E27FC236}">
                <a16:creationId xmlns:a16="http://schemas.microsoft.com/office/drawing/2014/main" id="{BFA10E21-F6E8-48B2-BDCC-DDD84BFC24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3852" y="1828123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Calibri"/>
              </a:rPr>
              <a:t>8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Oval 38">
            <a:extLst>
              <a:ext uri="{FF2B5EF4-FFF2-40B4-BE49-F238E27FC236}">
                <a16:creationId xmlns:a16="http://schemas.microsoft.com/office/drawing/2014/main" id="{BAF95F08-871B-461C-9E17-1E594BFD57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50272" y="2812987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000000"/>
                </a:solidFill>
                <a:latin typeface="Calibri"/>
              </a:rPr>
              <a:t>10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Oval 44">
            <a:extLst>
              <a:ext uri="{FF2B5EF4-FFF2-40B4-BE49-F238E27FC236}">
                <a16:creationId xmlns:a16="http://schemas.microsoft.com/office/drawing/2014/main" id="{80FAF65B-5DF6-42B8-897B-D7D56C06EE4C}"/>
              </a:ext>
            </a:extLst>
          </p:cNvPr>
          <p:cNvSpPr/>
          <p:nvPr/>
        </p:nvSpPr>
        <p:spPr bwMode="auto">
          <a:xfrm>
            <a:off x="8799292" y="2820688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6</a:t>
            </a:r>
          </a:p>
        </p:txBody>
      </p:sp>
      <p:sp>
        <p:nvSpPr>
          <p:cNvPr id="44" name="Oval 44">
            <a:extLst>
              <a:ext uri="{FF2B5EF4-FFF2-40B4-BE49-F238E27FC236}">
                <a16:creationId xmlns:a16="http://schemas.microsoft.com/office/drawing/2014/main" id="{BB6D468C-F1D2-431F-AF4C-11FD55FA8C02}"/>
              </a:ext>
            </a:extLst>
          </p:cNvPr>
          <p:cNvSpPr/>
          <p:nvPr/>
        </p:nvSpPr>
        <p:spPr bwMode="auto">
          <a:xfrm>
            <a:off x="8776092" y="1749902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3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3115B05-DCDF-4512-B907-A4742C4C1BBF}"/>
              </a:ext>
            </a:extLst>
          </p:cNvPr>
          <p:cNvSpPr/>
          <p:nvPr/>
        </p:nvSpPr>
        <p:spPr bwMode="auto">
          <a:xfrm>
            <a:off x="7422152" y="1811098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1930417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73FFBB0-5858-4E64-BCCE-B1DF198C0C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73FFBB0-5858-4E64-BCCE-B1DF198C0C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686904AA-3146-4004-84F5-624A0D0800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4410813"/>
              </p:ext>
            </p:extLst>
          </p:nvPr>
        </p:nvGraphicFramePr>
        <p:xfrm>
          <a:off x="785641" y="827118"/>
          <a:ext cx="10193208" cy="503739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44136">
                  <a:extLst>
                    <a:ext uri="{9D8B030D-6E8A-4147-A177-3AD203B41FA5}">
                      <a16:colId xmlns:a16="http://schemas.microsoft.com/office/drawing/2014/main" val="2858138375"/>
                    </a:ext>
                  </a:extLst>
                </a:gridCol>
                <a:gridCol w="4437303">
                  <a:extLst>
                    <a:ext uri="{9D8B030D-6E8A-4147-A177-3AD203B41FA5}">
                      <a16:colId xmlns:a16="http://schemas.microsoft.com/office/drawing/2014/main" val="3206392222"/>
                    </a:ext>
                  </a:extLst>
                </a:gridCol>
                <a:gridCol w="4811769">
                  <a:extLst>
                    <a:ext uri="{9D8B030D-6E8A-4147-A177-3AD203B41FA5}">
                      <a16:colId xmlns:a16="http://schemas.microsoft.com/office/drawing/2014/main" val="2711107017"/>
                    </a:ext>
                  </a:extLst>
                </a:gridCol>
              </a:tblGrid>
              <a:tr h="494903">
                <a:tc>
                  <a:txBody>
                    <a:bodyPr/>
                    <a:lstStyle/>
                    <a:p>
                      <a:r>
                        <a:rPr lang="nb-NO" sz="1400" b="1"/>
                        <a:t>Risiko #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b="1" dirty="0"/>
                        <a:t>Beskrivels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dirty="0"/>
                        <a:t>Tiltak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3764573"/>
                  </a:ext>
                </a:extLst>
              </a:tr>
              <a:tr h="586023">
                <a:tc>
                  <a:txBody>
                    <a:bodyPr/>
                    <a:lstStyle/>
                    <a:p>
                      <a:pPr algn="ctr"/>
                      <a:endParaRPr lang="nb-NO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nb-NO" sz="105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2549797"/>
                  </a:ext>
                </a:extLst>
              </a:tr>
              <a:tr h="598248">
                <a:tc>
                  <a:txBody>
                    <a:bodyPr/>
                    <a:lstStyle/>
                    <a:p>
                      <a:pPr algn="ctr"/>
                      <a:endParaRPr lang="nb-NO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05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8260218"/>
                  </a:ext>
                </a:extLst>
              </a:tr>
              <a:tr h="531468">
                <a:tc>
                  <a:txBody>
                    <a:bodyPr/>
                    <a:lstStyle/>
                    <a:p>
                      <a:pPr algn="ctr"/>
                      <a:endParaRPr lang="nb-NO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05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0630674"/>
                  </a:ext>
                </a:extLst>
              </a:tr>
              <a:tr h="744055">
                <a:tc>
                  <a:txBody>
                    <a:bodyPr/>
                    <a:lstStyle/>
                    <a:p>
                      <a:pPr algn="ctr"/>
                      <a:endParaRPr lang="nb-NO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05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1169712"/>
                  </a:ext>
                </a:extLst>
              </a:tr>
              <a:tr h="531468">
                <a:tc>
                  <a:txBody>
                    <a:bodyPr/>
                    <a:lstStyle/>
                    <a:p>
                      <a:pPr algn="ctr"/>
                      <a:endParaRPr lang="nb-NO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05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8373826"/>
                  </a:ext>
                </a:extLst>
              </a:tr>
              <a:tr h="517078">
                <a:tc>
                  <a:txBody>
                    <a:bodyPr/>
                    <a:lstStyle/>
                    <a:p>
                      <a:pPr algn="ctr"/>
                      <a:endParaRPr lang="nb-NO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nb-NO" sz="105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4360773"/>
                  </a:ext>
                </a:extLst>
              </a:tr>
              <a:tr h="517078">
                <a:tc>
                  <a:txBody>
                    <a:bodyPr/>
                    <a:lstStyle/>
                    <a:p>
                      <a:pPr algn="ctr"/>
                      <a:endParaRPr lang="nb-NO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nb-NO" sz="105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2035995"/>
                  </a:ext>
                </a:extLst>
              </a:tr>
              <a:tr h="517078">
                <a:tc>
                  <a:txBody>
                    <a:bodyPr/>
                    <a:lstStyle/>
                    <a:p>
                      <a:pPr algn="ctr"/>
                      <a:endParaRPr lang="nb-NO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nb-NO" sz="105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6540455"/>
                  </a:ext>
                </a:extLst>
              </a:tr>
            </a:tbl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8B596E87-0603-43DE-90F7-E9C3DE874C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633" y="322171"/>
            <a:ext cx="10824735" cy="463911"/>
          </a:xfrm>
        </p:spPr>
        <p:txBody>
          <a:bodyPr vert="horz"/>
          <a:lstStyle/>
          <a:p>
            <a:r>
              <a:rPr lang="nb-NO" sz="2667"/>
              <a:t>Risikomatrise-tiltak</a:t>
            </a:r>
            <a:endParaRPr lang="nb-NO" sz="2667" dirty="0"/>
          </a:p>
        </p:txBody>
      </p:sp>
    </p:spTree>
    <p:extLst>
      <p:ext uri="{BB962C8B-B14F-4D97-AF65-F5344CB8AC3E}">
        <p14:creationId xmlns:p14="http://schemas.microsoft.com/office/powerpoint/2010/main" val="38237064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Slide Background">
            <a:extLst>
              <a:ext uri="{FF2B5EF4-FFF2-40B4-BE49-F238E27FC236}">
                <a16:creationId xmlns:a16="http://schemas.microsoft.com/office/drawing/2014/main" id="{7B1AB9FE-36F5-4FD1-9850-DB5C5AD482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Formler skrevet på en tavle">
            <a:extLst>
              <a:ext uri="{FF2B5EF4-FFF2-40B4-BE49-F238E27FC236}">
                <a16:creationId xmlns:a16="http://schemas.microsoft.com/office/drawing/2014/main" id="{0357C288-B568-31F1-AF2D-151C4E1FE85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5670" b="6914"/>
          <a:stretch/>
        </p:blipFill>
        <p:spPr>
          <a:xfrm>
            <a:off x="20" y="10"/>
            <a:ext cx="12191979" cy="5486390"/>
          </a:xfrm>
          <a:prstGeom prst="rect">
            <a:avLst/>
          </a:prstGeom>
          <a:effectLst>
            <a:outerShdw blurRad="596900" dist="330200" dir="8820000" sx="87000" sy="87000" algn="ctr" rotWithShape="0">
              <a:srgbClr val="000000">
                <a:alpha val="29000"/>
              </a:srgbClr>
            </a:outerShdw>
          </a:effectLst>
        </p:spPr>
      </p:pic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F489C2E0-4895-4B72-85EA-7EE9FAFFDC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486402"/>
            <a:ext cx="12192000" cy="1371598"/>
          </a:xfrm>
          <a:prstGeom prst="rect">
            <a:avLst/>
          </a:prstGeom>
          <a:ln>
            <a:noFill/>
          </a:ln>
          <a:effectLst>
            <a:outerShdw blurRad="254000" dist="114300" dir="20340000" sx="89000" sy="89000" algn="t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B03B36-BB08-1375-D50A-94477A3189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556" y="5746071"/>
            <a:ext cx="7015499" cy="85226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600"/>
              <a:t>Eksempel på risikovurdering</a:t>
            </a:r>
          </a:p>
        </p:txBody>
      </p:sp>
    </p:spTree>
    <p:extLst>
      <p:ext uri="{BB962C8B-B14F-4D97-AF65-F5344CB8AC3E}">
        <p14:creationId xmlns:p14="http://schemas.microsoft.com/office/powerpoint/2010/main" val="21601414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73FFBB0-5858-4E64-BCCE-B1DF198C0C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73FFBB0-5858-4E64-BCCE-B1DF198C0C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A2C56731-E2EF-4992-BC27-29F0B9B24CFC}"/>
              </a:ext>
            </a:extLst>
          </p:cNvPr>
          <p:cNvGraphicFramePr>
            <a:graphicFrameLocks noGrp="1"/>
          </p:cNvGraphicFramePr>
          <p:nvPr/>
        </p:nvGraphicFramePr>
        <p:xfrm>
          <a:off x="1962403" y="32379"/>
          <a:ext cx="9670787" cy="355743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42943">
                  <a:extLst>
                    <a:ext uri="{9D8B030D-6E8A-4147-A177-3AD203B41FA5}">
                      <a16:colId xmlns:a16="http://schemas.microsoft.com/office/drawing/2014/main" val="1388719031"/>
                    </a:ext>
                  </a:extLst>
                </a:gridCol>
                <a:gridCol w="324481">
                  <a:extLst>
                    <a:ext uri="{9D8B030D-6E8A-4147-A177-3AD203B41FA5}">
                      <a16:colId xmlns:a16="http://schemas.microsoft.com/office/drawing/2014/main" val="4208907912"/>
                    </a:ext>
                  </a:extLst>
                </a:gridCol>
                <a:gridCol w="1281563">
                  <a:extLst>
                    <a:ext uri="{9D8B030D-6E8A-4147-A177-3AD203B41FA5}">
                      <a16:colId xmlns:a16="http://schemas.microsoft.com/office/drawing/2014/main" val="4242432131"/>
                    </a:ext>
                  </a:extLst>
                </a:gridCol>
                <a:gridCol w="1476492">
                  <a:extLst>
                    <a:ext uri="{9D8B030D-6E8A-4147-A177-3AD203B41FA5}">
                      <a16:colId xmlns:a16="http://schemas.microsoft.com/office/drawing/2014/main" val="746765770"/>
                    </a:ext>
                  </a:extLst>
                </a:gridCol>
                <a:gridCol w="1476492">
                  <a:extLst>
                    <a:ext uri="{9D8B030D-6E8A-4147-A177-3AD203B41FA5}">
                      <a16:colId xmlns:a16="http://schemas.microsoft.com/office/drawing/2014/main" val="1429428430"/>
                    </a:ext>
                  </a:extLst>
                </a:gridCol>
                <a:gridCol w="1476492">
                  <a:extLst>
                    <a:ext uri="{9D8B030D-6E8A-4147-A177-3AD203B41FA5}">
                      <a16:colId xmlns:a16="http://schemas.microsoft.com/office/drawing/2014/main" val="2138592019"/>
                    </a:ext>
                  </a:extLst>
                </a:gridCol>
                <a:gridCol w="1476492">
                  <a:extLst>
                    <a:ext uri="{9D8B030D-6E8A-4147-A177-3AD203B41FA5}">
                      <a16:colId xmlns:a16="http://schemas.microsoft.com/office/drawing/2014/main" val="1560128495"/>
                    </a:ext>
                  </a:extLst>
                </a:gridCol>
                <a:gridCol w="1515832">
                  <a:extLst>
                    <a:ext uri="{9D8B030D-6E8A-4147-A177-3AD203B41FA5}">
                      <a16:colId xmlns:a16="http://schemas.microsoft.com/office/drawing/2014/main" val="935630750"/>
                    </a:ext>
                  </a:extLst>
                </a:gridCol>
              </a:tblGrid>
              <a:tr h="303402">
                <a:tc rowSpan="3" gridSpan="3">
                  <a:txBody>
                    <a:bodyPr/>
                    <a:lstStyle/>
                    <a:p>
                      <a:pPr algn="ctr"/>
                      <a:endParaRPr lang="nb-NO" sz="1400"/>
                    </a:p>
                  </a:txBody>
                  <a:tcPr vert="vert27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 hMerge="1"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>
                        <a:buNone/>
                      </a:pPr>
                      <a:endParaRPr lang="en-US"/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3826803"/>
                  </a:ext>
                </a:extLst>
              </a:tr>
              <a:tr h="404536">
                <a:tc gridSpan="3" vMerge="1"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nb-NO" sz="1400" b="1" dirty="0"/>
                        <a:t>Påvirkning</a:t>
                      </a:r>
                      <a:br>
                        <a:rPr lang="nb-NO" sz="1400" dirty="0"/>
                      </a:br>
                      <a:r>
                        <a:rPr lang="nb-NO" sz="1100" dirty="0"/>
                        <a:t>Negativ innvirkning på </a:t>
                      </a:r>
                      <a:endParaRPr lang="nb-NO" sz="1400" dirty="0"/>
                    </a:p>
                  </a:txBody>
                  <a:tcPr marL="0" marR="0" marT="0" marB="0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2717449"/>
                  </a:ext>
                </a:extLst>
              </a:tr>
              <a:tr h="360598">
                <a:tc gridSpan="3" vMerge="1">
                  <a:txBody>
                    <a:bodyPr/>
                    <a:lstStyle/>
                    <a:p>
                      <a:pPr algn="r"/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r"/>
                      <a:endParaRPr lang="nb-NO" sz="110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50"/>
                        <a:t>Svært liten</a:t>
                      </a:r>
                    </a:p>
                    <a:p>
                      <a:pPr algn="ctr"/>
                      <a:r>
                        <a:rPr lang="nb-NO" sz="1400" b="1"/>
                        <a:t>1</a:t>
                      </a:r>
                    </a:p>
                  </a:txBody>
                  <a:tcPr marL="0" marR="0" marT="0" marB="0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50"/>
                        <a:t>Liten</a:t>
                      </a:r>
                    </a:p>
                    <a:p>
                      <a:pPr algn="ctr"/>
                      <a:r>
                        <a:rPr lang="nb-NO" sz="1400" b="1"/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50"/>
                        <a:t>Moderat</a:t>
                      </a:r>
                    </a:p>
                    <a:p>
                      <a:pPr algn="ctr"/>
                      <a:r>
                        <a:rPr lang="nb-NO" sz="1400" b="1"/>
                        <a:t>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50"/>
                        <a:t>Stor</a:t>
                      </a:r>
                    </a:p>
                    <a:p>
                      <a:pPr algn="ctr"/>
                      <a:r>
                        <a:rPr lang="nb-NO" sz="1400" b="1"/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50"/>
                        <a:t>Svært stor</a:t>
                      </a:r>
                    </a:p>
                    <a:p>
                      <a:pPr algn="ctr"/>
                      <a:r>
                        <a:rPr lang="nb-NO" sz="1400" b="1"/>
                        <a:t>5</a:t>
                      </a:r>
                      <a:endParaRPr lang="nb-NO" sz="1050" b="1"/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4706095"/>
                  </a:ext>
                </a:extLst>
              </a:tr>
              <a:tr h="495224">
                <a:tc rowSpan="5"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b="1"/>
                        <a:t>Sannsynlighet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/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900"/>
                        <a:t>Sikker hendels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D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1550725"/>
                  </a:ext>
                </a:extLst>
              </a:tr>
              <a:tr h="495224">
                <a:tc vMerge="1">
                  <a:txBody>
                    <a:bodyPr/>
                    <a:lstStyle/>
                    <a:p>
                      <a:pPr algn="r"/>
                      <a:endParaRPr lang="nb-NO" sz="1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900"/>
                        <a:t>Sannsynlig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D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D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0762524"/>
                  </a:ext>
                </a:extLst>
              </a:tr>
              <a:tr h="495224">
                <a:tc vMerge="1">
                  <a:txBody>
                    <a:bodyPr/>
                    <a:lstStyle/>
                    <a:p>
                      <a:pPr algn="r"/>
                      <a:endParaRPr lang="nb-NO" sz="1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/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900"/>
                        <a:t>Mulig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D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D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D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366928"/>
                  </a:ext>
                </a:extLst>
              </a:tr>
              <a:tr h="495224">
                <a:tc vMerge="1">
                  <a:txBody>
                    <a:bodyPr/>
                    <a:lstStyle/>
                    <a:p>
                      <a:pPr algn="r"/>
                      <a:endParaRPr lang="nb-NO" sz="1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900"/>
                        <a:t>Lite sannsynlig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D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3487118"/>
                  </a:ext>
                </a:extLst>
              </a:tr>
              <a:tr h="495224">
                <a:tc vMerge="1">
                  <a:txBody>
                    <a:bodyPr/>
                    <a:lstStyle/>
                    <a:p>
                      <a:pPr algn="r"/>
                      <a:endParaRPr lang="nb-NO" sz="18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/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900"/>
                        <a:t>Usannsynlig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ED2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7782870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ABADBC5-F95E-4E51-A2CE-F21C304830B3}"/>
              </a:ext>
            </a:extLst>
          </p:cNvPr>
          <p:cNvSpPr/>
          <p:nvPr/>
        </p:nvSpPr>
        <p:spPr>
          <a:xfrm>
            <a:off x="1979891" y="172080"/>
            <a:ext cx="2218043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1400" dirty="0"/>
              <a:t>Fysiske og psykososiale </a:t>
            </a:r>
          </a:p>
          <a:p>
            <a:r>
              <a:rPr lang="nb-NO" sz="1400" dirty="0" err="1"/>
              <a:t>Riskikoer</a:t>
            </a:r>
            <a:r>
              <a:rPr lang="nb-NO" sz="1400" dirty="0"/>
              <a:t> relatert til flytting.</a:t>
            </a:r>
          </a:p>
          <a:p>
            <a:br>
              <a:rPr lang="nb-NO" sz="1400" dirty="0"/>
            </a:br>
            <a:endParaRPr lang="nb-NO" sz="1400" b="1" dirty="0"/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686904AA-3146-4004-84F5-624A0D0800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3797865"/>
              </p:ext>
            </p:extLst>
          </p:nvPr>
        </p:nvGraphicFramePr>
        <p:xfrm>
          <a:off x="1979891" y="3670314"/>
          <a:ext cx="9657344" cy="317901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5588">
                  <a:extLst>
                    <a:ext uri="{9D8B030D-6E8A-4147-A177-3AD203B41FA5}">
                      <a16:colId xmlns:a16="http://schemas.microsoft.com/office/drawing/2014/main" val="782578624"/>
                    </a:ext>
                  </a:extLst>
                </a:gridCol>
                <a:gridCol w="4635154">
                  <a:extLst>
                    <a:ext uri="{9D8B030D-6E8A-4147-A177-3AD203B41FA5}">
                      <a16:colId xmlns:a16="http://schemas.microsoft.com/office/drawing/2014/main" val="106286645"/>
                    </a:ext>
                  </a:extLst>
                </a:gridCol>
                <a:gridCol w="328150">
                  <a:extLst>
                    <a:ext uri="{9D8B030D-6E8A-4147-A177-3AD203B41FA5}">
                      <a16:colId xmlns:a16="http://schemas.microsoft.com/office/drawing/2014/main" val="2858138375"/>
                    </a:ext>
                  </a:extLst>
                </a:gridCol>
                <a:gridCol w="4408452">
                  <a:extLst>
                    <a:ext uri="{9D8B030D-6E8A-4147-A177-3AD203B41FA5}">
                      <a16:colId xmlns:a16="http://schemas.microsoft.com/office/drawing/2014/main" val="3206392222"/>
                    </a:ext>
                  </a:extLst>
                </a:gridCol>
              </a:tblGrid>
              <a:tr h="274900">
                <a:tc>
                  <a:txBody>
                    <a:bodyPr/>
                    <a:lstStyle/>
                    <a:p>
                      <a:r>
                        <a:rPr lang="nb-NO" sz="1000" b="1">
                          <a:latin typeface="Arial"/>
                          <a:cs typeface="Arial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ase"/>
                      <a:r>
                        <a:rPr lang="en-US" sz="10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dusert</a:t>
                      </a:r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ivsel</a:t>
                      </a:r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0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unnet</a:t>
                      </a:r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rritasjon</a:t>
                      </a:r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 </a:t>
                      </a:r>
                      <a:r>
                        <a:rPr lang="en-US" sz="10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beidssituasjonen</a:t>
                      </a:r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0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øy</a:t>
                      </a:r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tc</a:t>
                      </a:r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000" b="1">
                          <a:latin typeface="+mn-lt"/>
                          <a:cs typeface="Arial"/>
                        </a:rPr>
                        <a:t>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 fontAlgn="base"/>
                      <a:r>
                        <a:rPr lang="en-US" sz="10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øyere</a:t>
                      </a:r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kefravær</a:t>
                      </a:r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unnet</a:t>
                      </a:r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</a:t>
                      </a:r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ysisk</a:t>
                      </a:r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ttere</a:t>
                      </a:r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beidssituasjon</a:t>
                      </a:r>
                      <a:endParaRPr lang="en-US" sz="10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3764573"/>
                  </a:ext>
                </a:extLst>
              </a:tr>
              <a:tr h="342690">
                <a:tc>
                  <a:txBody>
                    <a:bodyPr/>
                    <a:lstStyle/>
                    <a:p>
                      <a:pPr algn="ctr"/>
                      <a:r>
                        <a:rPr lang="nb-NO" sz="1000" b="1">
                          <a:latin typeface="Arial"/>
                          <a:cs typeface="Arial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ngere unna samarbeidspartnere og student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b="1">
                          <a:latin typeface="+mn-lt"/>
                          <a:cs typeface="Arial"/>
                        </a:rPr>
                        <a:t>4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/>
                        </a:rPr>
                        <a:t>Dårlig </a:t>
                      </a:r>
                      <a:r>
                        <a:rPr lang="nb-NO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/>
                        </a:rPr>
                        <a:t>akkustikk</a:t>
                      </a:r>
                      <a:endParaRPr lang="nb-N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2549797"/>
                  </a:ext>
                </a:extLst>
              </a:tr>
              <a:tr h="381383">
                <a:tc>
                  <a:txBody>
                    <a:bodyPr/>
                    <a:lstStyle/>
                    <a:p>
                      <a:pPr algn="ctr"/>
                      <a:r>
                        <a:rPr lang="nb-NO" sz="1000" b="1">
                          <a:latin typeface="Arial"/>
                          <a:cs typeface="Arial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årlig luftkvalite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b="1">
                          <a:latin typeface="+mn-lt"/>
                          <a:cs typeface="Arial"/>
                        </a:rPr>
                        <a:t>6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/>
                        </a:rPr>
                        <a:t>Økt bruk av hjemmekontor grunnet dårlige fasiliteter går ut over det </a:t>
                      </a:r>
                      <a:r>
                        <a:rPr lang="nb-NO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/>
                        </a:rPr>
                        <a:t>psykosoiale</a:t>
                      </a:r>
                      <a:r>
                        <a:rPr lang="nb-N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/>
                        </a:rPr>
                        <a:t> arbeidsmiljøe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8260218"/>
                  </a:ext>
                </a:extLst>
              </a:tr>
              <a:tr h="284999">
                <a:tc>
                  <a:txBody>
                    <a:bodyPr/>
                    <a:lstStyle/>
                    <a:p>
                      <a:pPr algn="ctr"/>
                      <a:r>
                        <a:rPr lang="nb-NO" sz="1000" b="1">
                          <a:latin typeface="Arial"/>
                          <a:cs typeface="Arial"/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nglende skjerming går utover gruppas </a:t>
                      </a:r>
                      <a:r>
                        <a:rPr lang="nb-NO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sykossoiale</a:t>
                      </a:r>
                      <a:r>
                        <a:rPr lang="nb-N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nb-NO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b.miljø</a:t>
                      </a:r>
                      <a:endParaRPr lang="nb-NO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b="1" dirty="0">
                          <a:latin typeface="+mn-lt"/>
                          <a:cs typeface="Arial"/>
                        </a:rPr>
                        <a:t>8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Ikke nok plasser å trekke seg tilbake for digitale møter, plan for bruk av rom mangle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0630674"/>
                  </a:ext>
                </a:extLst>
              </a:tr>
              <a:tr h="473761">
                <a:tc>
                  <a:txBody>
                    <a:bodyPr/>
                    <a:lstStyle/>
                    <a:p>
                      <a:pPr algn="ctr"/>
                      <a:r>
                        <a:rPr lang="nb-NO" sz="1000" b="1">
                          <a:latin typeface="Arial"/>
                          <a:cs typeface="Arial"/>
                        </a:rPr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nglende teknisk utstyr for støyreduksjon og digitale møt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b="1" dirty="0">
                          <a:latin typeface="+mn-lt"/>
                          <a:cs typeface="Arial"/>
                        </a:rPr>
                        <a:t>10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Konsentrasjonsvansker grunnet stø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1169712"/>
                  </a:ext>
                </a:extLst>
              </a:tr>
              <a:tr h="473761">
                <a:tc>
                  <a:txBody>
                    <a:bodyPr/>
                    <a:lstStyle/>
                    <a:p>
                      <a:pPr algn="ctr"/>
                      <a:r>
                        <a:rPr lang="nb-NO" sz="1000" b="1" dirty="0">
                          <a:latin typeface="Arial"/>
                          <a:cs typeface="Arial"/>
                        </a:rPr>
                        <a:t>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nb-N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isiko for dårligere tilgang på el-sykkel og el-bil, transport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b="1" dirty="0">
                          <a:latin typeface="+mn-lt"/>
                          <a:cs typeface="Arial"/>
                        </a:rPr>
                        <a:t>12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Risiko for at post funksjonen blir dårliger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1142592"/>
                  </a:ext>
                </a:extLst>
              </a:tr>
              <a:tr h="473761">
                <a:tc>
                  <a:txBody>
                    <a:bodyPr/>
                    <a:lstStyle/>
                    <a:p>
                      <a:pPr algn="ctr"/>
                      <a:r>
                        <a:rPr lang="nb-NO" sz="1000" b="1" dirty="0">
                          <a:latin typeface="Arial"/>
                          <a:cs typeface="Arial"/>
                        </a:rPr>
                        <a:t>1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Ønsket temperatur er vanskeligere å ivareta for den enkelt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100" b="1" dirty="0">
                          <a:latin typeface="+mn-lt"/>
                          <a:cs typeface="Arial"/>
                        </a:rPr>
                        <a:t>14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Risiko for at alle sitter med støydempende </a:t>
                      </a:r>
                      <a:r>
                        <a:rPr lang="nb-NO" sz="1000" b="0" i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headset</a:t>
                      </a:r>
                      <a:r>
                        <a:rPr lang="nb-NO" sz="1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, sikkerhetsrisiko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0349332"/>
                  </a:ext>
                </a:extLst>
              </a:tr>
              <a:tr h="473761">
                <a:tc>
                  <a:txBody>
                    <a:bodyPr/>
                    <a:lstStyle/>
                    <a:p>
                      <a:pPr algn="ctr"/>
                      <a:r>
                        <a:rPr lang="nb-NO" sz="1000" b="1" dirty="0">
                          <a:latin typeface="Arial"/>
                          <a:cs typeface="Arial"/>
                        </a:rPr>
                        <a:t>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yggeaktivitet  medfører stø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100" b="1" dirty="0">
                          <a:latin typeface="+mn-lt"/>
                          <a:cs typeface="Arial"/>
                        </a:rPr>
                        <a:t>16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Manglende fasiliteter for </a:t>
                      </a:r>
                      <a:r>
                        <a:rPr lang="nb-NO" sz="11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el sykkel</a:t>
                      </a:r>
                      <a:endParaRPr lang="nb-NO" sz="11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709942"/>
                  </a:ext>
                </a:extLst>
              </a:tr>
            </a:tbl>
          </a:graphicData>
        </a:graphic>
      </p:graphicFrame>
      <p:sp>
        <p:nvSpPr>
          <p:cNvPr id="10" name="Oval 9">
            <a:extLst>
              <a:ext uri="{FF2B5EF4-FFF2-40B4-BE49-F238E27FC236}">
                <a16:creationId xmlns:a16="http://schemas.microsoft.com/office/drawing/2014/main" id="{0370C33A-CDD1-4492-9240-BE3CE0B14B34}"/>
              </a:ext>
            </a:extLst>
          </p:cNvPr>
          <p:cNvSpPr/>
          <p:nvPr/>
        </p:nvSpPr>
        <p:spPr bwMode="auto">
          <a:xfrm>
            <a:off x="8670031" y="1734156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1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3939692-4970-4B5B-9E61-C22A77FABCA9}"/>
              </a:ext>
            </a:extLst>
          </p:cNvPr>
          <p:cNvSpPr/>
          <p:nvPr/>
        </p:nvSpPr>
        <p:spPr bwMode="auto">
          <a:xfrm>
            <a:off x="8690624" y="2307537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7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7164652-692C-4344-BE5C-7B375F6C6873}"/>
              </a:ext>
            </a:extLst>
          </p:cNvPr>
          <p:cNvGrpSpPr/>
          <p:nvPr/>
        </p:nvGrpSpPr>
        <p:grpSpPr>
          <a:xfrm>
            <a:off x="252719" y="172080"/>
            <a:ext cx="1487678" cy="3000189"/>
            <a:chOff x="385707" y="1835136"/>
            <a:chExt cx="1487678" cy="3000189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8E8C77A-BC6B-4A45-BF82-56DE5FE67EF8}"/>
                </a:ext>
              </a:extLst>
            </p:cNvPr>
            <p:cNvSpPr/>
            <p:nvPr/>
          </p:nvSpPr>
          <p:spPr>
            <a:xfrm>
              <a:off x="385707" y="1835136"/>
              <a:ext cx="1324696" cy="300018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545F75A0-3982-4AF0-9571-359E94DC1E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984" y="2101027"/>
              <a:ext cx="288000" cy="288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algn="ctr">
              <a:solidFill>
                <a:srgbClr val="000000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2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DA85D5F-0AE1-4A6B-8E49-27E5AEDFB993}"/>
                </a:ext>
              </a:extLst>
            </p:cNvPr>
            <p:cNvSpPr txBox="1"/>
            <p:nvPr/>
          </p:nvSpPr>
          <p:spPr>
            <a:xfrm>
              <a:off x="717979" y="2147346"/>
              <a:ext cx="105928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isikonummer, korresponderer med risiko i tabellen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13781D8C-01E5-4D52-A21B-6FB8A89B96A9}"/>
                </a:ext>
              </a:extLst>
            </p:cNvPr>
            <p:cNvSpPr/>
            <p:nvPr/>
          </p:nvSpPr>
          <p:spPr>
            <a:xfrm>
              <a:off x="487288" y="3649212"/>
              <a:ext cx="181392" cy="193009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915272B-B11A-4892-AF89-1D94DE0BBA94}"/>
                </a:ext>
              </a:extLst>
            </p:cNvPr>
            <p:cNvSpPr/>
            <p:nvPr/>
          </p:nvSpPr>
          <p:spPr>
            <a:xfrm>
              <a:off x="487288" y="4105316"/>
              <a:ext cx="181392" cy="19300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3B8DA48-3313-40ED-8167-78C2B652647E}"/>
                </a:ext>
              </a:extLst>
            </p:cNvPr>
            <p:cNvSpPr/>
            <p:nvPr/>
          </p:nvSpPr>
          <p:spPr>
            <a:xfrm>
              <a:off x="487288" y="4539491"/>
              <a:ext cx="181392" cy="19300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D56F87FC-FA82-4E29-BC0D-60D4336F0B4C}"/>
                </a:ext>
              </a:extLst>
            </p:cNvPr>
            <p:cNvSpPr txBox="1"/>
            <p:nvPr/>
          </p:nvSpPr>
          <p:spPr>
            <a:xfrm>
              <a:off x="719842" y="3577371"/>
              <a:ext cx="92595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Lav risiko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D6F497EE-17F6-4AC0-B395-F04B7773A370}"/>
                </a:ext>
              </a:extLst>
            </p:cNvPr>
            <p:cNvSpPr txBox="1"/>
            <p:nvPr/>
          </p:nvSpPr>
          <p:spPr>
            <a:xfrm>
              <a:off x="717979" y="4031107"/>
              <a:ext cx="115540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Middels risiko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EC02B2D-A503-4C70-9D91-507E1ED293A5}"/>
                </a:ext>
              </a:extLst>
            </p:cNvPr>
            <p:cNvSpPr txBox="1"/>
            <p:nvPr/>
          </p:nvSpPr>
          <p:spPr>
            <a:xfrm>
              <a:off x="719842" y="4466718"/>
              <a:ext cx="92595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Høy risiko</a:t>
              </a:r>
            </a:p>
          </p:txBody>
        </p:sp>
        <p:sp>
          <p:nvSpPr>
            <p:cNvPr id="36" name="Oval 38">
              <a:extLst>
                <a:ext uri="{FF2B5EF4-FFF2-40B4-BE49-F238E27FC236}">
                  <a16:creationId xmlns:a16="http://schemas.microsoft.com/office/drawing/2014/main" id="{3B226EE3-B823-48D3-82A8-1851A587E3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984" y="2752687"/>
              <a:ext cx="288000" cy="288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8100" algn="ctr">
              <a:solidFill>
                <a:srgbClr val="8064A2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>
                  <a:solidFill>
                    <a:srgbClr val="000000"/>
                  </a:solidFill>
                  <a:latin typeface="Calibri"/>
                </a:rPr>
                <a:t>1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7AFF738-F3D0-40AF-8A7B-668477F181C8}"/>
                </a:ext>
              </a:extLst>
            </p:cNvPr>
            <p:cNvSpPr txBox="1"/>
            <p:nvPr/>
          </p:nvSpPr>
          <p:spPr>
            <a:xfrm>
              <a:off x="790026" y="2751617"/>
              <a:ext cx="71492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Ny risiko</a:t>
              </a:r>
            </a:p>
          </p:txBody>
        </p:sp>
        <p:sp>
          <p:nvSpPr>
            <p:cNvPr id="38" name="Oval 38">
              <a:extLst>
                <a:ext uri="{FF2B5EF4-FFF2-40B4-BE49-F238E27FC236}">
                  <a16:creationId xmlns:a16="http://schemas.microsoft.com/office/drawing/2014/main" id="{B14772D2-F82F-4BBF-B4CB-55BAA147B3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984" y="3192314"/>
              <a:ext cx="288000" cy="288000"/>
            </a:xfrm>
            <a:prstGeom prst="ellipse">
              <a:avLst/>
            </a:prstGeom>
            <a:solidFill>
              <a:schemeClr val="bg1"/>
            </a:solidFill>
            <a:ln w="12700" algn="ctr">
              <a:solidFill>
                <a:srgbClr val="8064A2"/>
              </a:solidFill>
              <a:prstDash val="sysDash"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>
                  <a:solidFill>
                    <a:srgbClr val="000000"/>
                  </a:solidFill>
                  <a:latin typeface="Calibri"/>
                </a:rPr>
                <a:t>7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2208B3A-B7AF-45C5-B0AB-8B04D9819E14}"/>
                </a:ext>
              </a:extLst>
            </p:cNvPr>
            <p:cNvSpPr txBox="1"/>
            <p:nvPr/>
          </p:nvSpPr>
          <p:spPr>
            <a:xfrm>
              <a:off x="719841" y="3236796"/>
              <a:ext cx="71492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sz="9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 av lista</a:t>
              </a:r>
              <a:endPara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0" name="Oval 44">
            <a:extLst>
              <a:ext uri="{FF2B5EF4-FFF2-40B4-BE49-F238E27FC236}">
                <a16:creationId xmlns:a16="http://schemas.microsoft.com/office/drawing/2014/main" id="{56FD6206-0BF5-43F6-8327-3961295FD5AE}"/>
              </a:ext>
            </a:extLst>
          </p:cNvPr>
          <p:cNvSpPr/>
          <p:nvPr/>
        </p:nvSpPr>
        <p:spPr bwMode="auto">
          <a:xfrm>
            <a:off x="10103597" y="2268364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2</a:t>
            </a:r>
          </a:p>
        </p:txBody>
      </p:sp>
      <p:sp>
        <p:nvSpPr>
          <p:cNvPr id="43" name="Oval 38">
            <a:extLst>
              <a:ext uri="{FF2B5EF4-FFF2-40B4-BE49-F238E27FC236}">
                <a16:creationId xmlns:a16="http://schemas.microsoft.com/office/drawing/2014/main" id="{36F2114D-61CF-4DD0-ACC6-CA79395312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85103" y="2268364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</a:t>
            </a:r>
          </a:p>
        </p:txBody>
      </p:sp>
      <p:sp>
        <p:nvSpPr>
          <p:cNvPr id="49" name="Oval 44">
            <a:extLst>
              <a:ext uri="{FF2B5EF4-FFF2-40B4-BE49-F238E27FC236}">
                <a16:creationId xmlns:a16="http://schemas.microsoft.com/office/drawing/2014/main" id="{2B17569D-D479-432B-8261-D9F53BCA29B8}"/>
              </a:ext>
            </a:extLst>
          </p:cNvPr>
          <p:cNvSpPr/>
          <p:nvPr/>
        </p:nvSpPr>
        <p:spPr bwMode="auto">
          <a:xfrm>
            <a:off x="5822763" y="2793078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5</a:t>
            </a:r>
          </a:p>
        </p:txBody>
      </p:sp>
      <p:sp>
        <p:nvSpPr>
          <p:cNvPr id="50" name="Oval 38">
            <a:extLst>
              <a:ext uri="{FF2B5EF4-FFF2-40B4-BE49-F238E27FC236}">
                <a16:creationId xmlns:a16="http://schemas.microsoft.com/office/drawing/2014/main" id="{BFA10E21-F6E8-48B2-BDCC-DDD84BFC24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05405" y="2266412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rgbClr val="000000"/>
                </a:solidFill>
                <a:latin typeface="Calibri"/>
              </a:rPr>
              <a:t>8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Oval 38">
            <a:extLst>
              <a:ext uri="{FF2B5EF4-FFF2-40B4-BE49-F238E27FC236}">
                <a16:creationId xmlns:a16="http://schemas.microsoft.com/office/drawing/2014/main" id="{BAF95F08-871B-461C-9E17-1E594BFD57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36167" y="1729987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000000"/>
                </a:solidFill>
                <a:latin typeface="Calibri"/>
              </a:rPr>
              <a:t>10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Oval 44">
            <a:extLst>
              <a:ext uri="{FF2B5EF4-FFF2-40B4-BE49-F238E27FC236}">
                <a16:creationId xmlns:a16="http://schemas.microsoft.com/office/drawing/2014/main" id="{80FAF65B-5DF6-42B8-897B-D7D56C06EE4C}"/>
              </a:ext>
            </a:extLst>
          </p:cNvPr>
          <p:cNvSpPr/>
          <p:nvPr/>
        </p:nvSpPr>
        <p:spPr bwMode="auto">
          <a:xfrm>
            <a:off x="8230425" y="2316260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6</a:t>
            </a:r>
          </a:p>
        </p:txBody>
      </p:sp>
      <p:sp>
        <p:nvSpPr>
          <p:cNvPr id="44" name="Oval 44">
            <a:extLst>
              <a:ext uri="{FF2B5EF4-FFF2-40B4-BE49-F238E27FC236}">
                <a16:creationId xmlns:a16="http://schemas.microsoft.com/office/drawing/2014/main" id="{BB6D468C-F1D2-431F-AF4C-11FD55FA8C02}"/>
              </a:ext>
            </a:extLst>
          </p:cNvPr>
          <p:cNvSpPr/>
          <p:nvPr/>
        </p:nvSpPr>
        <p:spPr bwMode="auto">
          <a:xfrm>
            <a:off x="6831166" y="1346821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3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3115B05-DCDF-4512-B907-A4742C4C1BBF}"/>
              </a:ext>
            </a:extLst>
          </p:cNvPr>
          <p:cNvSpPr/>
          <p:nvPr/>
        </p:nvSpPr>
        <p:spPr bwMode="auto">
          <a:xfrm>
            <a:off x="7215426" y="2266412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4</a:t>
            </a:r>
          </a:p>
        </p:txBody>
      </p:sp>
      <p:sp>
        <p:nvSpPr>
          <p:cNvPr id="5" name="Oval 44">
            <a:extLst>
              <a:ext uri="{FF2B5EF4-FFF2-40B4-BE49-F238E27FC236}">
                <a16:creationId xmlns:a16="http://schemas.microsoft.com/office/drawing/2014/main" id="{0A50AAED-90C8-D5D7-A999-ADCE8C363983}"/>
              </a:ext>
            </a:extLst>
          </p:cNvPr>
          <p:cNvSpPr/>
          <p:nvPr/>
        </p:nvSpPr>
        <p:spPr bwMode="auto">
          <a:xfrm>
            <a:off x="7808035" y="2282449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12</a:t>
            </a:r>
          </a:p>
        </p:txBody>
      </p:sp>
      <p:sp>
        <p:nvSpPr>
          <p:cNvPr id="8" name="Oval 44">
            <a:extLst>
              <a:ext uri="{FF2B5EF4-FFF2-40B4-BE49-F238E27FC236}">
                <a16:creationId xmlns:a16="http://schemas.microsoft.com/office/drawing/2014/main" id="{4F36AA53-2FA9-9BC3-A102-3A368163B502}"/>
              </a:ext>
            </a:extLst>
          </p:cNvPr>
          <p:cNvSpPr/>
          <p:nvPr/>
        </p:nvSpPr>
        <p:spPr bwMode="auto">
          <a:xfrm>
            <a:off x="8695577" y="1277258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13</a:t>
            </a:r>
          </a:p>
        </p:txBody>
      </p:sp>
      <p:sp>
        <p:nvSpPr>
          <p:cNvPr id="9" name="Oval 44">
            <a:extLst>
              <a:ext uri="{FF2B5EF4-FFF2-40B4-BE49-F238E27FC236}">
                <a16:creationId xmlns:a16="http://schemas.microsoft.com/office/drawing/2014/main" id="{CA6BD5E0-1ABD-D5FB-B6A8-EA2A498EC510}"/>
              </a:ext>
            </a:extLst>
          </p:cNvPr>
          <p:cNvSpPr/>
          <p:nvPr/>
        </p:nvSpPr>
        <p:spPr bwMode="auto">
          <a:xfrm>
            <a:off x="9431627" y="3252066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14</a:t>
            </a:r>
          </a:p>
        </p:txBody>
      </p:sp>
      <p:sp>
        <p:nvSpPr>
          <p:cNvPr id="11" name="Oval 44">
            <a:extLst>
              <a:ext uri="{FF2B5EF4-FFF2-40B4-BE49-F238E27FC236}">
                <a16:creationId xmlns:a16="http://schemas.microsoft.com/office/drawing/2014/main" id="{0A06238E-B01C-B8D6-D12B-9AB4084C9F7C}"/>
              </a:ext>
            </a:extLst>
          </p:cNvPr>
          <p:cNvSpPr/>
          <p:nvPr/>
        </p:nvSpPr>
        <p:spPr bwMode="auto">
          <a:xfrm>
            <a:off x="5772961" y="1286729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11</a:t>
            </a:r>
          </a:p>
        </p:txBody>
      </p:sp>
      <p:sp>
        <p:nvSpPr>
          <p:cNvPr id="12" name="Oval 44">
            <a:extLst>
              <a:ext uri="{FF2B5EF4-FFF2-40B4-BE49-F238E27FC236}">
                <a16:creationId xmlns:a16="http://schemas.microsoft.com/office/drawing/2014/main" id="{AE0F588D-8B2F-38C0-42F4-DE9174D19D73}"/>
              </a:ext>
            </a:extLst>
          </p:cNvPr>
          <p:cNvSpPr/>
          <p:nvPr/>
        </p:nvSpPr>
        <p:spPr bwMode="auto">
          <a:xfrm>
            <a:off x="8030041" y="2109763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15</a:t>
            </a:r>
          </a:p>
        </p:txBody>
      </p:sp>
      <p:sp>
        <p:nvSpPr>
          <p:cNvPr id="13" name="Oval 44">
            <a:extLst>
              <a:ext uri="{FF2B5EF4-FFF2-40B4-BE49-F238E27FC236}">
                <a16:creationId xmlns:a16="http://schemas.microsoft.com/office/drawing/2014/main" id="{81630CC8-2F14-DB0C-421C-CDFDF6914422}"/>
              </a:ext>
            </a:extLst>
          </p:cNvPr>
          <p:cNvSpPr/>
          <p:nvPr/>
        </p:nvSpPr>
        <p:spPr bwMode="auto">
          <a:xfrm>
            <a:off x="9172070" y="2750435"/>
            <a:ext cx="252000" cy="2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</p:spPr>
        <p:txBody>
          <a:bodyPr vert="horz" wrap="square" lIns="0" tIns="60723" rIns="0" bIns="60723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nb-NO" sz="1200" b="1" dirty="0"/>
              <a:t>16</a:t>
            </a:r>
          </a:p>
        </p:txBody>
      </p:sp>
    </p:spTree>
    <p:extLst>
      <p:ext uri="{BB962C8B-B14F-4D97-AF65-F5344CB8AC3E}">
        <p14:creationId xmlns:p14="http://schemas.microsoft.com/office/powerpoint/2010/main" val="34037917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C28648A522184EA36A2635563BFE17" ma:contentTypeVersion="7" ma:contentTypeDescription="Create a new document." ma:contentTypeScope="" ma:versionID="890c6c12284b9c7b2adc01accbc3d109">
  <xsd:schema xmlns:xsd="http://www.w3.org/2001/XMLSchema" xmlns:xs="http://www.w3.org/2001/XMLSchema" xmlns:p="http://schemas.microsoft.com/office/2006/metadata/properties" xmlns:ns3="70404a6c-3db2-4fe3-97dd-ea7ac57d8e39" xmlns:ns4="a610463c-cf77-4be4-9cab-a37d6e5b2b79" targetNamespace="http://schemas.microsoft.com/office/2006/metadata/properties" ma:root="true" ma:fieldsID="61084ac79081a06dd2265c131d394822" ns3:_="" ns4:_="">
    <xsd:import namespace="70404a6c-3db2-4fe3-97dd-ea7ac57d8e39"/>
    <xsd:import namespace="a610463c-cf77-4be4-9cab-a37d6e5b2b7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ObjectDetectorVersion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404a6c-3db2-4fe3-97dd-ea7ac57d8e3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10463c-cf77-4be4-9cab-a37d6e5b2b7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171D948-AEE7-4B46-85C0-F9440B0D6A2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404a6c-3db2-4fe3-97dd-ea7ac57d8e39"/>
    <ds:schemaRef ds:uri="a610463c-cf77-4be4-9cab-a37d6e5b2b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078A850-CC7E-42FE-BD51-70207E9A4C9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9C44C06-AB35-41C0-94E2-A9D18196F071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purl.org/dc/elements/1.1/"/>
    <ds:schemaRef ds:uri="70404a6c-3db2-4fe3-97dd-ea7ac57d8e39"/>
    <ds:schemaRef ds:uri="http://schemas.openxmlformats.org/package/2006/metadata/core-properties"/>
    <ds:schemaRef ds:uri="a610463c-cf77-4be4-9cab-a37d6e5b2b79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88</Words>
  <Application>Microsoft Office PowerPoint</Application>
  <PresentationFormat>Widescreen</PresentationFormat>
  <Paragraphs>184</Paragraphs>
  <Slides>1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BrownPro Bold</vt:lpstr>
      <vt:lpstr>BrownPro Regular</vt:lpstr>
      <vt:lpstr>Calibri</vt:lpstr>
      <vt:lpstr>Calibri Light</vt:lpstr>
      <vt:lpstr>Office Theme</vt:lpstr>
      <vt:lpstr>think-cell Slide</vt:lpstr>
      <vt:lpstr>Risikovurdering</vt:lpstr>
      <vt:lpstr>Gjeldene lover og forskrifter: </vt:lpstr>
      <vt:lpstr>Gjeldene lover og forskrifter:</vt:lpstr>
      <vt:lpstr>Gjeldene lover og forskrifter: </vt:lpstr>
      <vt:lpstr>Forskrift om organisasjon, ledelse og medvirkning</vt:lpstr>
      <vt:lpstr>PowerPoint Presentation</vt:lpstr>
      <vt:lpstr>Risikomatrise-tiltak</vt:lpstr>
      <vt:lpstr>Eksempel på risikovurdering</vt:lpstr>
      <vt:lpstr>PowerPoint Presentation</vt:lpstr>
      <vt:lpstr>Risikomatrise-tilta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isikovurdering</dc:title>
  <dc:creator>Linn Rasch Aune</dc:creator>
  <cp:lastModifiedBy>Linn Rasch Aune</cp:lastModifiedBy>
  <cp:revision>1</cp:revision>
  <dcterms:created xsi:type="dcterms:W3CDTF">2024-01-31T14:49:46Z</dcterms:created>
  <dcterms:modified xsi:type="dcterms:W3CDTF">2024-01-31T15:02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C28648A522184EA36A2635563BFE17</vt:lpwstr>
  </property>
</Properties>
</file>